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charts/chart13.xml" ContentType="application/vnd.openxmlformats-officedocument.drawingml.chart+xml"/>
  <Override PartName="/ppt/charts/chart14.xml" ContentType="application/vnd.openxmlformats-officedocument.drawingml.chart+xml"/>
  <Override PartName="/ppt/charts/chart15.xml" ContentType="application/vnd.openxmlformats-officedocument.drawingml.chart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78.xml" ContentType="application/vnd.openxmlformats-officedocument.presentationml.tag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32" r:id="rId2"/>
    <p:sldId id="337" r:id="rId3"/>
    <p:sldId id="338" r:id="rId4"/>
    <p:sldId id="316" r:id="rId5"/>
    <p:sldId id="315" r:id="rId6"/>
    <p:sldId id="321" r:id="rId7"/>
    <p:sldId id="319" r:id="rId8"/>
    <p:sldId id="339" r:id="rId9"/>
    <p:sldId id="344" r:id="rId10"/>
    <p:sldId id="346" r:id="rId11"/>
    <p:sldId id="347" r:id="rId12"/>
    <p:sldId id="326" r:id="rId13"/>
    <p:sldId id="345" r:id="rId14"/>
    <p:sldId id="328" r:id="rId15"/>
    <p:sldId id="329" r:id="rId16"/>
    <p:sldId id="330" r:id="rId17"/>
    <p:sldId id="331" r:id="rId18"/>
    <p:sldId id="340" r:id="rId19"/>
    <p:sldId id="341" r:id="rId20"/>
  </p:sldIdLst>
  <p:sldSz cx="12192000" cy="6858000"/>
  <p:notesSz cx="6858000" cy="9144000"/>
  <p:custDataLst>
    <p:tags r:id="rId2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b="1" kern="1200">
        <a:solidFill>
          <a:srgbClr val="244894"/>
        </a:solidFill>
        <a:latin typeface="Arial" panose="020B0604020202020204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b="1" kern="1200">
        <a:solidFill>
          <a:srgbClr val="244894"/>
        </a:solidFill>
        <a:latin typeface="Arial" panose="020B0604020202020204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b="1" kern="1200">
        <a:solidFill>
          <a:srgbClr val="244894"/>
        </a:solidFill>
        <a:latin typeface="Arial" panose="020B0604020202020204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b="1" kern="1200">
        <a:solidFill>
          <a:srgbClr val="244894"/>
        </a:solidFill>
        <a:latin typeface="Arial" panose="020B0604020202020204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b="1" kern="1200">
        <a:solidFill>
          <a:srgbClr val="244894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600" b="1" kern="1200">
        <a:solidFill>
          <a:srgbClr val="244894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1600" b="1" kern="1200">
        <a:solidFill>
          <a:srgbClr val="244894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1600" b="1" kern="1200">
        <a:solidFill>
          <a:srgbClr val="244894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1600" b="1" kern="1200">
        <a:solidFill>
          <a:srgbClr val="244894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44894"/>
    <a:srgbClr val="1B366F"/>
    <a:srgbClr val="FA9744"/>
    <a:srgbClr val="337199"/>
    <a:srgbClr val="EDBA36"/>
    <a:srgbClr val="D3242E"/>
    <a:srgbClr val="3333CC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3145" autoAdjust="0"/>
    <p:restoredTop sz="88869" autoAdjust="0"/>
  </p:normalViewPr>
  <p:slideViewPr>
    <p:cSldViewPr>
      <p:cViewPr varScale="1">
        <p:scale>
          <a:sx n="64" d="100"/>
          <a:sy n="64" d="100"/>
        </p:scale>
        <p:origin x="368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9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0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1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2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3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4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1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-Arbeitsblatt4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6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7.xlsx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-Arbeitsblatt8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1596667299705E-3"/>
          <c:y val="1.955125353979964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00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35A-4FED-85FB-8EB6E8C73A96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35A-4FED-85FB-8EB6E8C73A96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235A-4FED-85FB-8EB6E8C73A96}"/>
              </c:ext>
            </c:extLst>
          </c:dPt>
          <c:dLbls>
            <c:dLbl>
              <c:idx val="0"/>
              <c:layout>
                <c:manualLayout>
                  <c:x val="-6.3341489826198192E-3"/>
                  <c:y val="1.437307018974375E-2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35A-4FED-85FB-8EB6E8C73A96}"/>
                </c:ext>
              </c:extLst>
            </c:dLbl>
            <c:dLbl>
              <c:idx val="1"/>
              <c:layout>
                <c:manualLayout>
                  <c:x val="3.6755345093270162E-3"/>
                  <c:y val="5.0883811247681753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5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235A-4FED-85FB-8EB6E8C73A96}"/>
                </c:ext>
              </c:extLst>
            </c:dLbl>
            <c:dLbl>
              <c:idx val="2"/>
              <c:layout>
                <c:manualLayout>
                  <c:x val="-0.10329995408777314"/>
                  <c:y val="-0.26063008878612176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22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235A-4FED-85FB-8EB6E8C73A9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7</c:v>
                </c:pt>
                <c:pt idx="1">
                  <c:v>17</c:v>
                </c:pt>
                <c:pt idx="2">
                  <c:v>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35A-4FED-85FB-8EB6E8C73A9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1596667299705E-3"/>
          <c:y val="1.955125353979964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00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4CE-4B4E-9056-29BBF8695E63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4CE-4B4E-9056-29BBF8695E63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34CE-4B4E-9056-29BBF8695E63}"/>
              </c:ext>
            </c:extLst>
          </c:dPt>
          <c:dLbls>
            <c:dLbl>
              <c:idx val="0"/>
              <c:layout>
                <c:manualLayout>
                  <c:x val="1.3145314754390037E-2"/>
                  <c:y val="-0.12278588191586222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20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34CE-4B4E-9056-29BBF8695E63}"/>
                </c:ext>
              </c:extLst>
            </c:dLbl>
            <c:dLbl>
              <c:idx val="1"/>
              <c:layout>
                <c:manualLayout>
                  <c:x val="-9.3107746486794513E-3"/>
                  <c:y val="8.7383752388131758E-2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14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34CE-4B4E-9056-29BBF8695E63}"/>
                </c:ext>
              </c:extLst>
            </c:dLbl>
            <c:dLbl>
              <c:idx val="2"/>
              <c:layout>
                <c:manualLayout>
                  <c:x val="5.9051917627937311E-4"/>
                  <c:y val="6.8298678198098406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2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34CE-4B4E-9056-29BBF8695E6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63</c:v>
                </c:pt>
                <c:pt idx="1">
                  <c:v>31</c:v>
                </c:pt>
                <c:pt idx="2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4CE-4B4E-9056-29BBF8695E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8215592596876327E-2"/>
          <c:y val="7.5856105153925976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4CE3-421B-8AE1-D4D696A7E6A3}"/>
              </c:ext>
            </c:extLst>
          </c:dPt>
          <c:dPt>
            <c:idx val="1"/>
            <c:bubble3D val="0"/>
            <c:spPr>
              <a:solidFill>
                <a:srgbClr val="C00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4CE3-421B-8AE1-D4D696A7E6A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4CE3-421B-8AE1-D4D696A7E6A3}"/>
              </c:ext>
            </c:extLst>
          </c:dPt>
          <c:dLbls>
            <c:dLbl>
              <c:idx val="0"/>
              <c:layout>
                <c:manualLayout>
                  <c:x val="-2.4319675894444944E-2"/>
                  <c:y val="6.5717497918309621E-4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4CE3-421B-8AE1-D4D696A7E6A3}"/>
                </c:ext>
              </c:extLst>
            </c:dLbl>
            <c:dLbl>
              <c:idx val="1"/>
              <c:layout>
                <c:manualLayout>
                  <c:x val="2.3155086793128131E-2"/>
                  <c:y val="-1.7698069025663798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4CE3-421B-8AE1-D4D696A7E6A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50</c:v>
                </c:pt>
                <c:pt idx="1">
                  <c:v>50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4CE3-421B-8AE1-D4D696A7E6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"/>
          <c:y val="8.2243325681582324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00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8BCE-401B-B583-DEB532DAE595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8BCE-401B-B583-DEB532DAE595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8BCE-401B-B583-DEB532DAE595}"/>
              </c:ext>
            </c:extLst>
          </c:dPt>
          <c:dLbls>
            <c:dLbl>
              <c:idx val="0"/>
              <c:layout>
                <c:manualLayout>
                  <c:x val="7.1583705965419603E-2"/>
                  <c:y val="-0.22565509599506658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13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8BCE-401B-B583-DEB532DAE595}"/>
                </c:ext>
              </c:extLst>
            </c:dLbl>
            <c:dLbl>
              <c:idx val="1"/>
              <c:layout>
                <c:manualLayout>
                  <c:x val="1.6661843667333705E-2"/>
                  <c:y val="5.0883811247682065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3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8BCE-401B-B583-DEB532DAE595}"/>
                </c:ext>
              </c:extLst>
            </c:dLbl>
            <c:dLbl>
              <c:idx val="2"/>
              <c:layout>
                <c:manualLayout>
                  <c:x val="7.0836737552827178E-3"/>
                  <c:y val="-2.8079785470439006E-5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2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8BCE-401B-B583-DEB532DAE595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72</c:v>
                </c:pt>
                <c:pt idx="1">
                  <c:v>17</c:v>
                </c:pt>
                <c:pt idx="2">
                  <c:v>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BCE-401B-B583-DEB532DAE5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1596667299705E-3"/>
          <c:y val="1.955125353979964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00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93C-4BE4-BF20-06D3E112FB28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693C-4BE4-BF20-06D3E112FB2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693C-4BE4-BF20-06D3E112FB28}"/>
              </c:ext>
            </c:extLst>
          </c:dPt>
          <c:dLbls>
            <c:dLbl>
              <c:idx val="0"/>
              <c:layout>
                <c:manualLayout>
                  <c:x val="0.29235096165153118"/>
                  <c:y val="-0.32852431007427102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21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693C-4BE4-BF20-06D3E112FB28}"/>
                </c:ext>
              </c:extLst>
            </c:dLbl>
            <c:dLbl>
              <c:idx val="1"/>
              <c:layout>
                <c:manualLayout>
                  <c:x val="3.675534509327076E-3"/>
                  <c:y val="5.0883811247682065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693C-4BE4-BF20-06D3E112FB28}"/>
                </c:ext>
              </c:extLst>
            </c:dLbl>
            <c:dLbl>
              <c:idx val="2"/>
              <c:layout>
                <c:manualLayout>
                  <c:x val="-2.538195687186829E-2"/>
                  <c:y val="9.598327308855264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693C-4BE4-BF20-06D3E112FB2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96</c:v>
                </c:pt>
                <c:pt idx="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93C-4BE4-BF20-06D3E112FB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1596667299705E-3"/>
          <c:y val="1.955125353979964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00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839-43DD-A875-63399A0233A8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839-43DD-A875-63399A0233A8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2839-43DD-A875-63399A0233A8}"/>
              </c:ext>
            </c:extLst>
          </c:dPt>
          <c:dLbls>
            <c:dLbl>
              <c:idx val="0"/>
              <c:layout>
                <c:manualLayout>
                  <c:x val="0.34642023647251075"/>
                  <c:y val="-0.3045627495990692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6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839-43DD-A875-63399A0233A8}"/>
                </c:ext>
              </c:extLst>
            </c:dLbl>
            <c:dLbl>
              <c:idx val="1"/>
              <c:layout>
                <c:manualLayout>
                  <c:x val="3.675534509327076E-3"/>
                  <c:y val="5.0883811247682065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2839-43DD-A875-63399A0233A8}"/>
                </c:ext>
              </c:extLst>
            </c:dLbl>
            <c:dLbl>
              <c:idx val="2"/>
              <c:layout>
                <c:manualLayout>
                  <c:x val="-2.538195687186829E-2"/>
                  <c:y val="9.5983273088552645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4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2839-43DD-A875-63399A0233A8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2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839-43DD-A875-63399A0233A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7960259848888431E-2"/>
          <c:y val="6.1357031232281388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FFC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43B-4D8A-AA29-553A72F67631}"/>
              </c:ext>
            </c:extLst>
          </c:dPt>
          <c:dPt>
            <c:idx val="3"/>
            <c:bubble3D val="0"/>
            <c:spPr>
              <a:solidFill>
                <a:srgbClr val="C00000"/>
              </a:solidFill>
            </c:spPr>
            <c:extLst>
              <c:ext xmlns:c16="http://schemas.microsoft.com/office/drawing/2014/chart" uri="{C3380CC4-5D6E-409C-BE32-E72D297353CC}">
                <c16:uniqueId val="{00000000-597B-4479-9249-5BA19ECE6F67}"/>
              </c:ext>
            </c:extLst>
          </c:dPt>
          <c:dLbls>
            <c:dLbl>
              <c:idx val="0"/>
              <c:layout>
                <c:manualLayout>
                  <c:x val="7.0836737552827178E-3"/>
                  <c:y val="-2.8079785470439006E-5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F43B-4D8A-AA29-553A72F6763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43B-4D8A-AA29-553A72F676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1596667299705E-3"/>
          <c:y val="1.955125353979964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00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6341-451F-B88F-69CA68EC0D19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6341-451F-B88F-69CA68EC0D19}"/>
              </c:ext>
            </c:extLst>
          </c:dPt>
          <c:dPt>
            <c:idx val="2"/>
            <c:bubble3D val="0"/>
            <c:spPr>
              <a:solidFill>
                <a:srgbClr val="00B05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6341-451F-B88F-69CA68EC0D19}"/>
              </c:ext>
            </c:extLst>
          </c:dPt>
          <c:dLbls>
            <c:dLbl>
              <c:idx val="0"/>
              <c:layout>
                <c:manualLayout>
                  <c:x val="0.26637834333551808"/>
                  <c:y val="-0.34909815289011192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49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6341-451F-B88F-69CA68EC0D19}"/>
                </c:ext>
              </c:extLst>
            </c:dLbl>
            <c:dLbl>
              <c:idx val="1"/>
              <c:layout>
                <c:manualLayout>
                  <c:x val="3.6755345093271354E-3"/>
                  <c:y val="-1.7695664805120889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2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6341-451F-B88F-69CA68EC0D19}"/>
                </c:ext>
              </c:extLst>
            </c:dLbl>
            <c:dLbl>
              <c:idx val="2"/>
              <c:layout>
                <c:manualLayout>
                  <c:x val="9.7987837861328711E-2"/>
                  <c:y val="-2.0601922601311325E-2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1</a:t>
                    </a: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6341-451F-B88F-69CA68EC0D1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93</c:v>
                </c:pt>
                <c:pt idx="1">
                  <c:v>4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341-451F-B88F-69CA68EC0D1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1596667299705E-3"/>
          <c:y val="1.955125353979964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00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B49D-4895-A875-1B5ABB8DF96F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B49D-4895-A875-1B5ABB8DF96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B49D-4895-A875-1B5ABB8DF96F}"/>
              </c:ext>
            </c:extLst>
          </c:dPt>
          <c:dLbls>
            <c:dLbl>
              <c:idx val="0"/>
              <c:layout>
                <c:manualLayout>
                  <c:x val="1.3145314754390037E-2"/>
                  <c:y val="-3.3632563047218317E-2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7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B49D-4895-A875-1B5ABB8DF96F}"/>
                </c:ext>
              </c:extLst>
            </c:dLbl>
            <c:dLbl>
              <c:idx val="1"/>
              <c:layout>
                <c:manualLayout>
                  <c:x val="3.6755345093271207E-3"/>
                  <c:y val="4.6236066756449916E-2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6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B49D-4895-A875-1B5ABB8DF96F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54</c:v>
                </c:pt>
                <c:pt idx="1">
                  <c:v>46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49D-4895-A875-1B5ABB8DF96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1596667299705E-3"/>
          <c:y val="1.955125353979964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00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A4C9-449C-AFE1-1A05627DCC93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A4C9-449C-AFE1-1A05627DCC9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A4C9-449C-AFE1-1A05627DCC93}"/>
              </c:ext>
            </c:extLst>
          </c:dPt>
          <c:dLbls>
            <c:dLbl>
              <c:idx val="0"/>
              <c:layout>
                <c:manualLayout>
                  <c:x val="1.5900559638334723E-4"/>
                  <c:y val="6.5717497918309621E-4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2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A4C9-449C-AFE1-1A05627DCC93}"/>
                </c:ext>
              </c:extLst>
            </c:dLbl>
            <c:dLbl>
              <c:idx val="1"/>
              <c:layout>
                <c:manualLayout>
                  <c:x val="2.3155086793128131E-2"/>
                  <c:y val="-1.7698069025663798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A4C9-449C-AFE1-1A05627DCC9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4C9-449C-AFE1-1A05627DCC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1596667299705E-3"/>
          <c:y val="1.955125353979964E-2"/>
          <c:w val="0.921784472769409"/>
          <c:h val="0.93864306784660767"/>
        </c:manualLayout>
      </c:layout>
      <c:doughnutChart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dPt>
            <c:idx val="0"/>
            <c:bubble3D val="0"/>
            <c:spPr>
              <a:solidFill>
                <a:srgbClr val="C000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77E-4D25-B2BE-B04F412A2272}"/>
              </c:ext>
            </c:extLst>
          </c:dPt>
          <c:dPt>
            <c:idx val="1"/>
            <c:bubble3D val="0"/>
            <c:spPr>
              <a:solidFill>
                <a:srgbClr val="00B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77E-4D25-B2BE-B04F412A2272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77E-4D25-B2BE-B04F412A2272}"/>
              </c:ext>
            </c:extLst>
          </c:dPt>
          <c:dLbls>
            <c:dLbl>
              <c:idx val="0"/>
              <c:layout>
                <c:manualLayout>
                  <c:x val="0.27434003739523993"/>
                  <c:y val="-0.32852464263464431"/>
                </c:manualLayout>
              </c:layout>
              <c:tx>
                <c:rich>
                  <a:bodyPr rot="0" spcFirstLastPara="1" vertOverflow="ellipsis" vert="horz" wrap="non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126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1-777E-4D25-B2BE-B04F412A2272}"/>
                </c:ext>
              </c:extLst>
            </c:dLbl>
            <c:dLbl>
              <c:idx val="1"/>
              <c:layout>
                <c:manualLayout>
                  <c:x val="-9.310636900286124E-3"/>
                  <c:y val="-8.6276370162493357E-3"/>
                </c:manualLayout>
              </c:layout>
              <c:tx>
                <c:rich>
                  <a:bodyPr rot="0" spcFirstLastPara="1" vertOverflow="ellipsis" vert="horz" wrap="non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3-777E-4D25-B2BE-B04F412A2272}"/>
                </c:ext>
              </c:extLst>
            </c:dLbl>
            <c:dLbl>
              <c:idx val="2"/>
              <c:layout>
                <c:manualLayout>
                  <c:x val="1.3009827054217335E-2"/>
                  <c:y val="-2.9675184755459792E-2"/>
                </c:manualLayout>
              </c:layout>
              <c:tx>
                <c:rich>
                  <a:bodyPr rot="0" spcFirstLastPara="1" vertOverflow="ellipsis" vert="horz" wrap="none" anchor="ctr" anchorCtr="1"/>
                  <a:lstStyle/>
                  <a:p>
                    <a:pPr>
                      <a:defRPr sz="1400" b="0" i="0" u="none" strike="noStrike" kern="1200" baseline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non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de-DE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  <a:noFill/>
                    <a:ln>
                      <a:noFill/>
                    </a:ln>
                  </c15:spPr>
                  <c15:layout/>
                </c:ext>
                <c:ext xmlns:c16="http://schemas.microsoft.com/office/drawing/2014/chart" uri="{C3380CC4-5D6E-409C-BE32-E72D297353CC}">
                  <c16:uniqueId val="{00000005-777E-4D25-B2BE-B04F412A2272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96</c:v>
                </c:pt>
                <c:pt idx="1">
                  <c:v>1</c:v>
                </c:pt>
                <c:pt idx="2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77E-4D25-B2BE-B04F412A227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0"/>
    <c:dispBlanksAs val="gap"/>
    <c:showDLblsOverMax val="1"/>
  </c:chart>
  <c:spPr>
    <a:noFill/>
    <a:ln w="9525" cap="flat" cmpd="sng" algn="ctr">
      <a:noFill/>
      <a:prstDash val="solid"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1596667299705E-3"/>
          <c:y val="1.955125353979964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00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36BB-4294-984B-37C083CAA811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36BB-4294-984B-37C083CAA811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36BB-4294-984B-37C083CAA811}"/>
              </c:ext>
            </c:extLst>
          </c:dPt>
          <c:dLbls>
            <c:dLbl>
              <c:idx val="0"/>
              <c:layout>
                <c:manualLayout>
                  <c:x val="0.12471442194391857"/>
                  <c:y val="-0.26680303038962971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11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36BB-4294-984B-37C083CAA811}"/>
                </c:ext>
              </c:extLst>
            </c:dLbl>
            <c:dLbl>
              <c:idx val="1"/>
              <c:layout>
                <c:manualLayout>
                  <c:x val="-1.5803929227682752E-2"/>
                  <c:y val="-1.7695664805120889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3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36BB-4294-984B-37C083CAA81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79</c:v>
                </c:pt>
                <c:pt idx="1">
                  <c:v>21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6BB-4294-984B-37C083CAA8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1596667299705E-3"/>
          <c:y val="1.955125353979964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00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8C15-4504-BB82-81A2C5F42DCA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8C15-4504-BB82-81A2C5F42DC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8C15-4504-BB82-81A2C5F42DCA}"/>
              </c:ext>
            </c:extLst>
          </c:dPt>
          <c:dLbls>
            <c:dLbl>
              <c:idx val="0"/>
              <c:layout>
                <c:manualLayout>
                  <c:x val="0.26192153337770058"/>
                  <c:y val="-0.33939063562736838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78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8C15-4504-BB82-81A2C5F42DCA}"/>
                </c:ext>
              </c:extLst>
            </c:dLbl>
            <c:dLbl>
              <c:idx val="1"/>
              <c:layout>
                <c:manualLayout>
                  <c:x val="0.13969772661140931"/>
                  <c:y val="7.3037705545807349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>
                        <a:solidFill>
                          <a:schemeClr val="tx1"/>
                        </a:solidFill>
                      </a:rPr>
                      <a:t>3</a:t>
                    </a:r>
                    <a:endParaRPr lang="en-US" dirty="0">
                      <a:solidFill>
                        <a:schemeClr val="tx1"/>
                      </a:solidFill>
                    </a:endParaRPr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8C15-4504-BB82-81A2C5F42DCA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94</c:v>
                </c:pt>
                <c:pt idx="1">
                  <c:v>6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C15-4504-BB82-81A2C5F42DC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1596667299705E-3"/>
          <c:y val="1.955125353979964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00000"/>
              </a:solidFill>
              <a:ln w="12700" algn="ctr">
                <a:solidFill>
                  <a:srgbClr val="C00000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29F7-4550-95B3-930D16447CD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29F7-4550-95B3-930D16447CDC}"/>
              </c:ext>
            </c:extLst>
          </c:dPt>
          <c:dPt>
            <c:idx val="2"/>
            <c:bubble3D val="0"/>
            <c:spPr>
              <a:solidFill>
                <a:schemeClr val="accent1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29F7-4550-95B3-930D16447CDC}"/>
              </c:ext>
            </c:extLst>
          </c:dPt>
          <c:dLbls>
            <c:dLbl>
              <c:idx val="0"/>
              <c:layout>
                <c:manualLayout>
                  <c:x val="0.32007574120650056"/>
                  <c:y val="-0.34667154394407895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95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29F7-4550-95B3-930D16447CDC}"/>
                </c:ext>
              </c:extLst>
            </c:dLbl>
            <c:dLbl>
              <c:idx val="2"/>
              <c:layout>
                <c:manualLayout>
                  <c:x val="0.10448099244033195"/>
                  <c:y val="-2.0601922601311325E-2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1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5-29F7-4550-95B3-930D16447CD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99</c:v>
                </c:pt>
                <c:pt idx="1">
                  <c:v>0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29F7-4550-95B3-930D16447C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291596667299705E-3"/>
          <c:y val="1.955125353979964E-2"/>
          <c:w val="0.921784472769409"/>
          <c:h val="0.9386430678466076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C00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F259-42C3-8C0E-A9FD6CCB6974}"/>
              </c:ext>
            </c:extLst>
          </c:dPt>
          <c:dPt>
            <c:idx val="1"/>
            <c:bubble3D val="0"/>
            <c:spPr>
              <a:solidFill>
                <a:srgbClr val="FFC000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F259-42C3-8C0E-A9FD6CCB697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2700" algn="ctr">
                <a:solidFill>
                  <a:schemeClr val="bg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5-F259-42C3-8C0E-A9FD6CCB6974}"/>
              </c:ext>
            </c:extLst>
          </c:dPt>
          <c:dLbls>
            <c:dLbl>
              <c:idx val="0"/>
              <c:layout>
                <c:manualLayout>
                  <c:x val="7.8076860544422894E-2"/>
                  <c:y val="-0.21879714838978631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11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1-F259-42C3-8C0E-A9FD6CCB6974}"/>
                </c:ext>
              </c:extLst>
            </c:dLbl>
            <c:dLbl>
              <c:idx val="1"/>
              <c:layout>
                <c:manualLayout>
                  <c:x val="2.3154998246336992E-2"/>
                  <c:y val="-1.7695664805121203E-3"/>
                </c:manualLayout>
              </c:layout>
              <c:tx>
                <c:rich>
                  <a:bodyPr wrap="none"/>
                  <a:lstStyle/>
                  <a:p>
                    <a:pPr>
                      <a:defRPr sz="140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 smtClean="0"/>
                      <a:t>4</a:t>
                    </a:r>
                    <a:endParaRPr lang="en-US" dirty="0"/>
                  </a:p>
                </c:rich>
              </c:tx>
              <c:numFmt formatCode="#,##0&quot;%&quot;;&quot;-&quot;#,##0&quot;%&quot;" sourceLinked="0"/>
              <c:spPr>
                <a:noFill/>
                <a:ln>
                  <a:noFill/>
                </a:ln>
              </c:sp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F259-42C3-8C0E-A9FD6CCB697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Lit>
              <c:ptCount val="3"/>
              <c:pt idx="0">
                <c:v>1</c:v>
              </c:pt>
              <c:pt idx="1">
                <c:v>2</c:v>
              </c:pt>
              <c:pt idx="2">
                <c:v>3</c:v>
              </c:pt>
              <c:extLst>
                <c:ext xmlns:c15="http://schemas.microsoft.com/office/drawing/2012/chart" uri="{02D57815-91ED-43cb-92C2-25804820EDAC}">
                  <c15:autoCat val="1"/>
                </c:ext>
              </c:extLst>
            </c:strLit>
          </c:cat>
          <c:val>
            <c:numRef>
              <c:f>Sheet1!$A$1:$A$6</c:f>
              <c:numCache>
                <c:formatCode>General</c:formatCode>
                <c:ptCount val="6"/>
                <c:pt idx="0">
                  <c:v>73</c:v>
                </c:pt>
                <c:pt idx="1">
                  <c:v>27</c:v>
                </c:pt>
                <c:pt idx="2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259-42C3-8C0E-A9FD6CCB697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102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>
      <a:schemeClr val="dk1">
        <a:tint val="95000"/>
      </a:schem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>
      <a:schemeClr val="dk1">
        <a:tint val="5000"/>
      </a:schem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B88868-A386-4D96-AEF6-13B122EF650B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354051E9-E048-45B8-B36B-C1B6073CD889}">
      <dgm:prSet phldrT="[Text]"/>
      <dgm:spPr>
        <a:xfrm rot="5400000">
          <a:off x="-151715" y="153248"/>
          <a:ext cx="1011438" cy="708006"/>
        </a:xfrm>
        <a:prstGeom prst="chevron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ABH</a:t>
          </a:r>
        </a:p>
      </dgm:t>
    </dgm:pt>
    <dgm:pt modelId="{6290342E-7827-4771-9D84-C6BBF6F6F475}" type="sibTrans" cxnId="{952F2DB0-EBA5-48AB-B82B-939F8CBB8787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2FB4D0DE-E096-48E9-92C7-660B725E568A}" type="parTrans" cxnId="{952F2DB0-EBA5-48AB-B82B-939F8CBB8787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2A352D69-F47C-449C-9E65-629FF7E21871}">
      <dgm:prSet phldrT="[Text]"/>
      <dgm:spPr>
        <a:xfrm rot="5400000">
          <a:off x="5497398" y="-4787858"/>
          <a:ext cx="657434" cy="10236218"/>
        </a:xfrm>
        <a:prstGeom prst="round2SameRect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 Formlose Interessensbekundung an ozg-ve@hmdis.hessen.de</a:t>
          </a:r>
        </a:p>
      </dgm:t>
    </dgm:pt>
    <dgm:pt modelId="{FBCC0A37-DF9F-4804-8D1D-C52B187C578C}" type="sibTrans" cxnId="{81559BFD-B0F3-4F64-8DA2-3B022B15EB7F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555F3261-F0B2-45F6-BB86-8AF672B43E20}" type="parTrans" cxnId="{81559BFD-B0F3-4F64-8DA2-3B022B15EB7F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AF2DC565-B384-43B8-A2E7-417B3EA0D842}">
      <dgm:prSet phldrT="[Text]"/>
      <dgm:spPr>
        <a:xfrm rot="5400000">
          <a:off x="-151715" y="1939934"/>
          <a:ext cx="1011438" cy="708006"/>
        </a:xfrm>
        <a:prstGeom prst="chevron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ABH</a:t>
          </a:r>
        </a:p>
      </dgm:t>
    </dgm:pt>
    <dgm:pt modelId="{499C5B46-477B-4803-AF13-063D8953DEA9}" type="sibTrans" cxnId="{DF4C5879-4F6A-4192-B1BA-9FB3CE50BF30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5BD6ABF9-3F45-47C3-9CB9-3EE47038DD52}" type="parTrans" cxnId="{DF4C5879-4F6A-4192-B1BA-9FB3CE50BF30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701A044A-20B8-41D3-9F1B-0339501E22AB}">
      <dgm:prSet phldrT="[Text]"/>
      <dgm:spPr>
        <a:xfrm rot="5400000">
          <a:off x="5496886" y="-3001173"/>
          <a:ext cx="657434" cy="10236218"/>
        </a:xfrm>
        <a:prstGeom prst="round2SameRect">
          <a:avLst/>
        </a:prstGeom>
        <a:solidFill>
          <a:srgbClr val="FFFFFF">
            <a:lumMod val="50000"/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 Nicht-Mitglieder der ekom21 senden der ekom21 den unterschriebenen AVV zu</a:t>
          </a:r>
        </a:p>
      </dgm:t>
    </dgm:pt>
    <dgm:pt modelId="{AE4F4D9A-CBCD-4988-ADEA-6FD9B3E834F0}" type="sibTrans" cxnId="{70712D03-BE46-459B-B0B6-EE0D355FA41A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87A6DA09-7733-46C8-AADB-B7400C3B7469}" type="parTrans" cxnId="{70712D03-BE46-459B-B0B6-EE0D355FA41A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B122D32F-333F-4C39-BCF5-8E7FCE0A6622}">
      <dgm:prSet phldrT="[Text]"/>
      <dgm:spPr>
        <a:xfrm rot="5400000">
          <a:off x="5496886" y="-3001173"/>
          <a:ext cx="657434" cy="10236218"/>
        </a:xfrm>
        <a:prstGeom prst="round2SameRect">
          <a:avLst/>
        </a:prstGeom>
        <a:solidFill>
          <a:srgbClr val="FFFFFF">
            <a:lumMod val="50000"/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 Mitglieder der ekom21 bekunden schriftlich ihr Interesse und nehmen den AVV zur Kenntnis</a:t>
          </a:r>
        </a:p>
      </dgm:t>
    </dgm:pt>
    <dgm:pt modelId="{F25234DA-3C46-49FB-8FE3-22A68515B227}" type="sibTrans" cxnId="{3E1FBBA5-619E-4FF9-86F5-BA0347548628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D674FDA5-62C3-46D0-AAC2-6211DFD63D6B}" type="parTrans" cxnId="{3E1FBBA5-619E-4FF9-86F5-BA0347548628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088DE101-2D41-45A3-9A41-45446E75EA22}">
      <dgm:prSet phldrT="[Text]"/>
      <dgm:spPr>
        <a:xfrm rot="5400000">
          <a:off x="-151715" y="2833276"/>
          <a:ext cx="1011438" cy="708006"/>
        </a:xfrm>
        <a:prstGeom prst="chevron">
          <a:avLst/>
        </a:prstGeom>
        <a:solidFill>
          <a:srgbClr val="C6163B"/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ekom21</a:t>
          </a:r>
        </a:p>
      </dgm:t>
    </dgm:pt>
    <dgm:pt modelId="{C3101A79-8504-43D7-9BF5-448C402E7D77}" type="sibTrans" cxnId="{920E6752-BECB-49D1-BEDC-1FE125434026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E59BD2F3-0CF4-434C-89F7-8DE88ED2D5E6}" type="parTrans" cxnId="{920E6752-BECB-49D1-BEDC-1FE125434026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A3FD038A-40C2-46DE-879C-B80A78A8816A}">
      <dgm:prSet phldrT="[Text]"/>
      <dgm:spPr>
        <a:xfrm rot="5400000">
          <a:off x="5497398" y="-2107830"/>
          <a:ext cx="657434" cy="10236218"/>
        </a:xfrm>
        <a:prstGeom prst="round2SameRect">
          <a:avLst/>
        </a:prstGeom>
        <a:solidFill>
          <a:srgbClr val="C6163B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 Prüft AVV und Interessenbekundung</a:t>
          </a:r>
        </a:p>
      </dgm:t>
    </dgm:pt>
    <dgm:pt modelId="{5D1686DC-178A-4D92-9085-98493A5A4EB4}" type="sibTrans" cxnId="{97A6C338-FBCE-4564-9BF7-FEC0883962EB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C64BAA19-CE37-4706-BEBD-DB8BCF022B7F}" type="parTrans" cxnId="{97A6C338-FBCE-4564-9BF7-FEC0883962EB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F799DE3D-6288-4E50-8BA4-B230979994D3}">
      <dgm:prSet phldrT="[Text]"/>
      <dgm:spPr>
        <a:xfrm rot="5400000">
          <a:off x="5497398" y="-2107830"/>
          <a:ext cx="657434" cy="10236218"/>
        </a:xfrm>
        <a:prstGeom prst="round2SameRect">
          <a:avLst/>
        </a:prstGeom>
        <a:solidFill>
          <a:srgbClr val="C6163B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 Versendet Checkliste (zur Mandatierung in civento, zur Einrichtung von </a:t>
          </a:r>
          <a:r>
            <a:rPr lang="de-DE" dirty="0" smtClean="0">
              <a:solidFill>
                <a:srgbClr val="FFFFFF"/>
              </a:solidFill>
              <a:latin typeface="Tahoma"/>
              <a:ea typeface="+mn-ea"/>
              <a:cs typeface="+mn-cs"/>
            </a:rPr>
            <a:t>ePayment</a:t>
          </a:r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, Datenschutzerklärung etc.)</a:t>
          </a:r>
        </a:p>
      </dgm:t>
    </dgm:pt>
    <dgm:pt modelId="{E388A139-EDAB-4129-AA9C-C5BBAEEEF719}" type="sibTrans" cxnId="{A3C816F7-DA92-42F8-A6E9-FF3379140FC4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6A54B297-D433-44F1-A6CE-2D99C07E137F}" type="parTrans" cxnId="{A3C816F7-DA92-42F8-A6E9-FF3379140FC4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BF15C2EB-B7D0-4957-9565-A0A93F560801}">
      <dgm:prSet phldrT="[Text]"/>
      <dgm:spPr>
        <a:xfrm rot="5400000">
          <a:off x="-151715" y="3726619"/>
          <a:ext cx="1011438" cy="708006"/>
        </a:xfrm>
        <a:prstGeom prst="chevron">
          <a:avLst/>
        </a:prstGeom>
        <a:solidFill>
          <a:srgbClr val="FFFFFF">
            <a:lumMod val="50000"/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ABH</a:t>
          </a:r>
        </a:p>
      </dgm:t>
    </dgm:pt>
    <dgm:pt modelId="{4C1516FC-E7A3-4B24-96BC-ADDC0DD361D5}" type="sibTrans" cxnId="{A3AE7F0E-ACA5-4C46-B592-BDD2A389320A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8CC387C6-740F-480F-9419-FD9045623E07}" type="parTrans" cxnId="{A3AE7F0E-ACA5-4C46-B592-BDD2A389320A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C5B7DCE3-12B2-4892-856C-57110CD738F1}">
      <dgm:prSet phldrT="[Text]"/>
      <dgm:spPr>
        <a:xfrm rot="5400000">
          <a:off x="5497398" y="-1214487"/>
          <a:ext cx="657434" cy="10236218"/>
        </a:xfrm>
        <a:prstGeom prst="round2SameRect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 Sendet ausgefüllte Checkliste, Datenschutzerklärung und die zur Einrichtung relevanten Informationen an die ekom21</a:t>
          </a:r>
        </a:p>
      </dgm:t>
    </dgm:pt>
    <dgm:pt modelId="{A1D2EA45-CD9D-4880-A6D3-0D247F5341AF}" type="sibTrans" cxnId="{789FACFD-280E-46B4-AC37-607C9721D063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73CE16B4-F90B-4199-B848-6140933431B8}" type="parTrans" cxnId="{789FACFD-280E-46B4-AC37-607C9721D063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148CF7B0-DF87-49E4-82A8-8952B2BF25E5}">
      <dgm:prSet phldrT="[Text]"/>
      <dgm:spPr>
        <a:xfrm rot="5400000">
          <a:off x="5496886" y="-3895068"/>
          <a:ext cx="657434" cy="10236218"/>
        </a:xfrm>
        <a:prstGeom prst="round2SameRect">
          <a:avLst/>
        </a:prstGeom>
        <a:solidFill>
          <a:srgbClr val="C6163B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 Sendet erste Informationsmail (inkl. AVV, Testlink und weitere Informationen)</a:t>
          </a:r>
        </a:p>
      </dgm:t>
    </dgm:pt>
    <dgm:pt modelId="{E2863BA1-57DA-4EA0-83A5-86D4BDF52180}" type="sibTrans" cxnId="{45AC9A22-E906-4A8F-AF7F-13497FD567ED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AD540369-EAB8-49D8-BDA2-620E4FD5BD6B}" type="parTrans" cxnId="{45AC9A22-E906-4A8F-AF7F-13497FD567ED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3785D12C-E08C-4C16-8B6F-698032E80D75}">
      <dgm:prSet phldrT="[Text]"/>
      <dgm:spPr>
        <a:xfrm rot="5400000">
          <a:off x="-151715" y="1046591"/>
          <a:ext cx="1011438" cy="708006"/>
        </a:xfrm>
        <a:prstGeom prst="chevron">
          <a:avLst/>
        </a:prstGeom>
        <a:solidFill>
          <a:srgbClr val="C6163B"/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ekom21</a:t>
          </a:r>
        </a:p>
      </dgm:t>
    </dgm:pt>
    <dgm:pt modelId="{AF841485-1CCB-4565-B423-26E38C364B1B}" type="sibTrans" cxnId="{94275741-150C-4A90-A793-A03A130A8AD4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AB31C06F-E160-45B6-805C-C7DCD8B4B695}" type="parTrans" cxnId="{94275741-150C-4A90-A793-A03A130A8AD4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8E23D605-A981-4BA1-8BFC-E6DFAC82F362}" type="pres">
      <dgm:prSet presAssocID="{37B88868-A386-4D96-AEF6-13B122EF650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60FFEE5-A8CD-4839-BD05-107ECAF166B1}" type="pres">
      <dgm:prSet presAssocID="{354051E9-E048-45B8-B36B-C1B6073CD889}" presName="composite" presStyleCnt="0"/>
      <dgm:spPr/>
    </dgm:pt>
    <dgm:pt modelId="{4F6B115C-5777-4A32-886B-2028216683BB}" type="pres">
      <dgm:prSet presAssocID="{354051E9-E048-45B8-B36B-C1B6073CD889}" presName="parentText" presStyleLbl="alignNode1" presStyleIdx="0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85D45CA-2267-4FD8-92EB-B2274B1BA379}" type="pres">
      <dgm:prSet presAssocID="{354051E9-E048-45B8-B36B-C1B6073CD889}" presName="descendantText" presStyleLbl="alignAcc1" presStyleIdx="0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8857BCA-ADAF-4BE5-BD41-4ADE87381987}" type="pres">
      <dgm:prSet presAssocID="{6290342E-7827-4771-9D84-C6BBF6F6F475}" presName="sp" presStyleCnt="0"/>
      <dgm:spPr/>
    </dgm:pt>
    <dgm:pt modelId="{957D402C-04B0-4EF5-87A8-416A30EEBA8F}" type="pres">
      <dgm:prSet presAssocID="{3785D12C-E08C-4C16-8B6F-698032E80D75}" presName="composite" presStyleCnt="0"/>
      <dgm:spPr/>
    </dgm:pt>
    <dgm:pt modelId="{37981129-71EF-4221-AF8D-B6CB1C76CE25}" type="pres">
      <dgm:prSet presAssocID="{3785D12C-E08C-4C16-8B6F-698032E80D75}" presName="parentText" presStyleLbl="alignNode1" presStyleIdx="1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459C7383-0EA4-447B-A15D-E0B5A27955BC}" type="pres">
      <dgm:prSet presAssocID="{3785D12C-E08C-4C16-8B6F-698032E80D75}" presName="descendantText" presStyleLbl="alignAcc1" presStyleIdx="1" presStyleCnt="5" custLinFactNeighborX="-5" custLinFactNeighborY="-8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B8D6AD2-7DEA-4664-AD7E-A5D0B006D1D9}" type="pres">
      <dgm:prSet presAssocID="{AF841485-1CCB-4565-B423-26E38C364B1B}" presName="sp" presStyleCnt="0"/>
      <dgm:spPr/>
    </dgm:pt>
    <dgm:pt modelId="{8CFD5E99-609B-4653-8C97-647CAD88AACA}" type="pres">
      <dgm:prSet presAssocID="{AF2DC565-B384-43B8-A2E7-417B3EA0D842}" presName="composite" presStyleCnt="0"/>
      <dgm:spPr/>
    </dgm:pt>
    <dgm:pt modelId="{A94248A6-D2E8-485E-9E62-5C92ED0443B3}" type="pres">
      <dgm:prSet presAssocID="{AF2DC565-B384-43B8-A2E7-417B3EA0D842}" presName="parentText" presStyleLbl="alignNode1" presStyleIdx="2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39E074F9-76A1-4C59-B577-D282E44B99A8}" type="pres">
      <dgm:prSet presAssocID="{AF2DC565-B384-43B8-A2E7-417B3EA0D842}" presName="descendantText" presStyleLbl="alignAcc1" presStyleIdx="2" presStyleCnt="5" custLinFactNeighborX="-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AD19BCE-2173-4779-B779-F23C6BCA0394}" type="pres">
      <dgm:prSet presAssocID="{499C5B46-477B-4803-AF13-063D8953DEA9}" presName="sp" presStyleCnt="0"/>
      <dgm:spPr/>
    </dgm:pt>
    <dgm:pt modelId="{3A56AB36-B0D2-4149-9DA0-C5A6E5DFDC40}" type="pres">
      <dgm:prSet presAssocID="{088DE101-2D41-45A3-9A41-45446E75EA22}" presName="composite" presStyleCnt="0"/>
      <dgm:spPr/>
    </dgm:pt>
    <dgm:pt modelId="{B94844A5-C16C-44E2-B6E8-031F7984E5F9}" type="pres">
      <dgm:prSet presAssocID="{088DE101-2D41-45A3-9A41-45446E75EA22}" presName="parentText" presStyleLbl="alignNode1" presStyleIdx="3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C1DB4BC-CF26-4521-9D04-D443ED2FE1ED}" type="pres">
      <dgm:prSet presAssocID="{088DE101-2D41-45A3-9A41-45446E75EA22}" presName="descendantText" presStyleLbl="alignAcc1" presStyleIdx="3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CCF28513-DE39-4D2F-BA67-E5BAA3BDF62D}" type="pres">
      <dgm:prSet presAssocID="{C3101A79-8504-43D7-9BF5-448C402E7D77}" presName="sp" presStyleCnt="0"/>
      <dgm:spPr/>
    </dgm:pt>
    <dgm:pt modelId="{8379AB0F-0C4E-485D-832E-25EB042FC122}" type="pres">
      <dgm:prSet presAssocID="{BF15C2EB-B7D0-4957-9565-A0A93F560801}" presName="composite" presStyleCnt="0"/>
      <dgm:spPr/>
    </dgm:pt>
    <dgm:pt modelId="{060616D5-3362-491E-AD71-9E27832684FB}" type="pres">
      <dgm:prSet presAssocID="{BF15C2EB-B7D0-4957-9565-A0A93F560801}" presName="parentText" presStyleLbl="alignNode1" presStyleIdx="4" presStyleCnt="5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6797E1D-E46B-414C-9927-51CBE7756290}" type="pres">
      <dgm:prSet presAssocID="{BF15C2EB-B7D0-4957-9565-A0A93F560801}" presName="descendantText" presStyleLbl="alignAcc1" presStyleIdx="4" presStyleCnt="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3C816F7-DA92-42F8-A6E9-FF3379140FC4}" srcId="{088DE101-2D41-45A3-9A41-45446E75EA22}" destId="{F799DE3D-6288-4E50-8BA4-B230979994D3}" srcOrd="1" destOrd="0" parTransId="{6A54B297-D433-44F1-A6CE-2D99C07E137F}" sibTransId="{E388A139-EDAB-4129-AA9C-C5BBAEEEF719}"/>
    <dgm:cxn modelId="{62CDB822-B7DF-42E4-B1D7-42E3864493EA}" type="presOf" srcId="{F799DE3D-6288-4E50-8BA4-B230979994D3}" destId="{6C1DB4BC-CF26-4521-9D04-D443ED2FE1ED}" srcOrd="0" destOrd="1" presId="urn:microsoft.com/office/officeart/2005/8/layout/chevron2"/>
    <dgm:cxn modelId="{8A598477-B200-4C7B-88EF-6078C0E042B9}" type="presOf" srcId="{088DE101-2D41-45A3-9A41-45446E75EA22}" destId="{B94844A5-C16C-44E2-B6E8-031F7984E5F9}" srcOrd="0" destOrd="0" presId="urn:microsoft.com/office/officeart/2005/8/layout/chevron2"/>
    <dgm:cxn modelId="{1B9FF72A-7CC6-43B4-9B65-686120D3AD4D}" type="presOf" srcId="{A3FD038A-40C2-46DE-879C-B80A78A8816A}" destId="{6C1DB4BC-CF26-4521-9D04-D443ED2FE1ED}" srcOrd="0" destOrd="0" presId="urn:microsoft.com/office/officeart/2005/8/layout/chevron2"/>
    <dgm:cxn modelId="{920E6752-BECB-49D1-BEDC-1FE125434026}" srcId="{37B88868-A386-4D96-AEF6-13B122EF650B}" destId="{088DE101-2D41-45A3-9A41-45446E75EA22}" srcOrd="3" destOrd="0" parTransId="{E59BD2F3-0CF4-434C-89F7-8DE88ED2D5E6}" sibTransId="{C3101A79-8504-43D7-9BF5-448C402E7D77}"/>
    <dgm:cxn modelId="{A3AE7F0E-ACA5-4C46-B592-BDD2A389320A}" srcId="{37B88868-A386-4D96-AEF6-13B122EF650B}" destId="{BF15C2EB-B7D0-4957-9565-A0A93F560801}" srcOrd="4" destOrd="0" parTransId="{8CC387C6-740F-480F-9419-FD9045623E07}" sibTransId="{4C1516FC-E7A3-4B24-96BC-ADDC0DD361D5}"/>
    <dgm:cxn modelId="{DF4C5879-4F6A-4192-B1BA-9FB3CE50BF30}" srcId="{37B88868-A386-4D96-AEF6-13B122EF650B}" destId="{AF2DC565-B384-43B8-A2E7-417B3EA0D842}" srcOrd="2" destOrd="0" parTransId="{5BD6ABF9-3F45-47C3-9CB9-3EE47038DD52}" sibTransId="{499C5B46-477B-4803-AF13-063D8953DEA9}"/>
    <dgm:cxn modelId="{7AFF4B4D-7C75-4110-8AD0-47993D49FE00}" type="presOf" srcId="{701A044A-20B8-41D3-9F1B-0339501E22AB}" destId="{39E074F9-76A1-4C59-B577-D282E44B99A8}" srcOrd="0" destOrd="0" presId="urn:microsoft.com/office/officeart/2005/8/layout/chevron2"/>
    <dgm:cxn modelId="{789FACFD-280E-46B4-AC37-607C9721D063}" srcId="{BF15C2EB-B7D0-4957-9565-A0A93F560801}" destId="{C5B7DCE3-12B2-4892-856C-57110CD738F1}" srcOrd="0" destOrd="0" parTransId="{73CE16B4-F90B-4199-B848-6140933431B8}" sibTransId="{A1D2EA45-CD9D-4880-A6D3-0D247F5341AF}"/>
    <dgm:cxn modelId="{622964BF-DE7A-4D00-A58B-C30EAB8FD511}" type="presOf" srcId="{C5B7DCE3-12B2-4892-856C-57110CD738F1}" destId="{B6797E1D-E46B-414C-9927-51CBE7756290}" srcOrd="0" destOrd="0" presId="urn:microsoft.com/office/officeart/2005/8/layout/chevron2"/>
    <dgm:cxn modelId="{8D995131-9985-447A-8F65-310B605298BC}" type="presOf" srcId="{BF15C2EB-B7D0-4957-9565-A0A93F560801}" destId="{060616D5-3362-491E-AD71-9E27832684FB}" srcOrd="0" destOrd="0" presId="urn:microsoft.com/office/officeart/2005/8/layout/chevron2"/>
    <dgm:cxn modelId="{68E6B3C9-B571-44BF-B15F-43E3EFECAD6B}" type="presOf" srcId="{2A352D69-F47C-449C-9E65-629FF7E21871}" destId="{D85D45CA-2267-4FD8-92EB-B2274B1BA379}" srcOrd="0" destOrd="0" presId="urn:microsoft.com/office/officeart/2005/8/layout/chevron2"/>
    <dgm:cxn modelId="{05C5883B-7362-4A55-B0BC-2B56DD54AE7A}" type="presOf" srcId="{37B88868-A386-4D96-AEF6-13B122EF650B}" destId="{8E23D605-A981-4BA1-8BFC-E6DFAC82F362}" srcOrd="0" destOrd="0" presId="urn:microsoft.com/office/officeart/2005/8/layout/chevron2"/>
    <dgm:cxn modelId="{1A3A4383-B845-4E69-B18D-F31A8CFEF77E}" type="presOf" srcId="{354051E9-E048-45B8-B36B-C1B6073CD889}" destId="{4F6B115C-5777-4A32-886B-2028216683BB}" srcOrd="0" destOrd="0" presId="urn:microsoft.com/office/officeart/2005/8/layout/chevron2"/>
    <dgm:cxn modelId="{55877283-ADA1-4CAA-A5DD-72C642A28226}" type="presOf" srcId="{3785D12C-E08C-4C16-8B6F-698032E80D75}" destId="{37981129-71EF-4221-AF8D-B6CB1C76CE25}" srcOrd="0" destOrd="0" presId="urn:microsoft.com/office/officeart/2005/8/layout/chevron2"/>
    <dgm:cxn modelId="{3E1FBBA5-619E-4FF9-86F5-BA0347548628}" srcId="{AF2DC565-B384-43B8-A2E7-417B3EA0D842}" destId="{B122D32F-333F-4C39-BCF5-8E7FCE0A6622}" srcOrd="1" destOrd="0" parTransId="{D674FDA5-62C3-46D0-AAC2-6211DFD63D6B}" sibTransId="{F25234DA-3C46-49FB-8FE3-22A68515B227}"/>
    <dgm:cxn modelId="{94275741-150C-4A90-A793-A03A130A8AD4}" srcId="{37B88868-A386-4D96-AEF6-13B122EF650B}" destId="{3785D12C-E08C-4C16-8B6F-698032E80D75}" srcOrd="1" destOrd="0" parTransId="{AB31C06F-E160-45B6-805C-C7DCD8B4B695}" sibTransId="{AF841485-1CCB-4565-B423-26E38C364B1B}"/>
    <dgm:cxn modelId="{81559BFD-B0F3-4F64-8DA2-3B022B15EB7F}" srcId="{354051E9-E048-45B8-B36B-C1B6073CD889}" destId="{2A352D69-F47C-449C-9E65-629FF7E21871}" srcOrd="0" destOrd="0" parTransId="{555F3261-F0B2-45F6-BB86-8AF672B43E20}" sibTransId="{FBCC0A37-DF9F-4804-8D1D-C52B187C578C}"/>
    <dgm:cxn modelId="{97A6C338-FBCE-4564-9BF7-FEC0883962EB}" srcId="{088DE101-2D41-45A3-9A41-45446E75EA22}" destId="{A3FD038A-40C2-46DE-879C-B80A78A8816A}" srcOrd="0" destOrd="0" parTransId="{C64BAA19-CE37-4706-BEBD-DB8BCF022B7F}" sibTransId="{5D1686DC-178A-4D92-9085-98493A5A4EB4}"/>
    <dgm:cxn modelId="{70712D03-BE46-459B-B0B6-EE0D355FA41A}" srcId="{AF2DC565-B384-43B8-A2E7-417B3EA0D842}" destId="{701A044A-20B8-41D3-9F1B-0339501E22AB}" srcOrd="0" destOrd="0" parTransId="{87A6DA09-7733-46C8-AADB-B7400C3B7469}" sibTransId="{AE4F4D9A-CBCD-4988-ADEA-6FD9B3E834F0}"/>
    <dgm:cxn modelId="{952F2DB0-EBA5-48AB-B82B-939F8CBB8787}" srcId="{37B88868-A386-4D96-AEF6-13B122EF650B}" destId="{354051E9-E048-45B8-B36B-C1B6073CD889}" srcOrd="0" destOrd="0" parTransId="{2FB4D0DE-E096-48E9-92C7-660B725E568A}" sibTransId="{6290342E-7827-4771-9D84-C6BBF6F6F475}"/>
    <dgm:cxn modelId="{0977C10C-41EB-4BED-BC7D-88B9D154951F}" type="presOf" srcId="{B122D32F-333F-4C39-BCF5-8E7FCE0A6622}" destId="{39E074F9-76A1-4C59-B577-D282E44B99A8}" srcOrd="0" destOrd="1" presId="urn:microsoft.com/office/officeart/2005/8/layout/chevron2"/>
    <dgm:cxn modelId="{CEA143DF-0516-4893-A181-1BCCF8086F7D}" type="presOf" srcId="{AF2DC565-B384-43B8-A2E7-417B3EA0D842}" destId="{A94248A6-D2E8-485E-9E62-5C92ED0443B3}" srcOrd="0" destOrd="0" presId="urn:microsoft.com/office/officeart/2005/8/layout/chevron2"/>
    <dgm:cxn modelId="{45AC9A22-E906-4A8F-AF7F-13497FD567ED}" srcId="{3785D12C-E08C-4C16-8B6F-698032E80D75}" destId="{148CF7B0-DF87-49E4-82A8-8952B2BF25E5}" srcOrd="0" destOrd="0" parTransId="{AD540369-EAB8-49D8-BDA2-620E4FD5BD6B}" sibTransId="{E2863BA1-57DA-4EA0-83A5-86D4BDF52180}"/>
    <dgm:cxn modelId="{DEDECB59-6433-4C82-B952-E51E3310FDE0}" type="presOf" srcId="{148CF7B0-DF87-49E4-82A8-8952B2BF25E5}" destId="{459C7383-0EA4-447B-A15D-E0B5A27955BC}" srcOrd="0" destOrd="0" presId="urn:microsoft.com/office/officeart/2005/8/layout/chevron2"/>
    <dgm:cxn modelId="{00B0746A-6924-4873-A13E-558289C20B8F}" type="presParOf" srcId="{8E23D605-A981-4BA1-8BFC-E6DFAC82F362}" destId="{260FFEE5-A8CD-4839-BD05-107ECAF166B1}" srcOrd="0" destOrd="0" presId="urn:microsoft.com/office/officeart/2005/8/layout/chevron2"/>
    <dgm:cxn modelId="{D050020E-AF37-42CA-AEAF-B87B8CB79F08}" type="presParOf" srcId="{260FFEE5-A8CD-4839-BD05-107ECAF166B1}" destId="{4F6B115C-5777-4A32-886B-2028216683BB}" srcOrd="0" destOrd="0" presId="urn:microsoft.com/office/officeart/2005/8/layout/chevron2"/>
    <dgm:cxn modelId="{64FD39C6-B575-4C9C-8754-EEADC448F8BA}" type="presParOf" srcId="{260FFEE5-A8CD-4839-BD05-107ECAF166B1}" destId="{D85D45CA-2267-4FD8-92EB-B2274B1BA379}" srcOrd="1" destOrd="0" presId="urn:microsoft.com/office/officeart/2005/8/layout/chevron2"/>
    <dgm:cxn modelId="{35140EB2-2D2E-42C2-BAAC-F54B43A7BCCD}" type="presParOf" srcId="{8E23D605-A981-4BA1-8BFC-E6DFAC82F362}" destId="{18857BCA-ADAF-4BE5-BD41-4ADE87381987}" srcOrd="1" destOrd="0" presId="urn:microsoft.com/office/officeart/2005/8/layout/chevron2"/>
    <dgm:cxn modelId="{1319FA91-7E02-4AAA-A323-026B205400FF}" type="presParOf" srcId="{8E23D605-A981-4BA1-8BFC-E6DFAC82F362}" destId="{957D402C-04B0-4EF5-87A8-416A30EEBA8F}" srcOrd="2" destOrd="0" presId="urn:microsoft.com/office/officeart/2005/8/layout/chevron2"/>
    <dgm:cxn modelId="{FA6B4214-6B60-45F5-BFF2-AA5C723DDFC1}" type="presParOf" srcId="{957D402C-04B0-4EF5-87A8-416A30EEBA8F}" destId="{37981129-71EF-4221-AF8D-B6CB1C76CE25}" srcOrd="0" destOrd="0" presId="urn:microsoft.com/office/officeart/2005/8/layout/chevron2"/>
    <dgm:cxn modelId="{F68804AA-DA45-4BA3-93EE-45A9D790E70D}" type="presParOf" srcId="{957D402C-04B0-4EF5-87A8-416A30EEBA8F}" destId="{459C7383-0EA4-447B-A15D-E0B5A27955BC}" srcOrd="1" destOrd="0" presId="urn:microsoft.com/office/officeart/2005/8/layout/chevron2"/>
    <dgm:cxn modelId="{B48ADDD8-4A27-4187-BF14-DA2F560A6636}" type="presParOf" srcId="{8E23D605-A981-4BA1-8BFC-E6DFAC82F362}" destId="{0B8D6AD2-7DEA-4664-AD7E-A5D0B006D1D9}" srcOrd="3" destOrd="0" presId="urn:microsoft.com/office/officeart/2005/8/layout/chevron2"/>
    <dgm:cxn modelId="{5ACCD6F7-B696-48A3-B6EA-7E74E4A382B3}" type="presParOf" srcId="{8E23D605-A981-4BA1-8BFC-E6DFAC82F362}" destId="{8CFD5E99-609B-4653-8C97-647CAD88AACA}" srcOrd="4" destOrd="0" presId="urn:microsoft.com/office/officeart/2005/8/layout/chevron2"/>
    <dgm:cxn modelId="{3F1700FC-0FFB-4C6D-B0FB-D5A623974374}" type="presParOf" srcId="{8CFD5E99-609B-4653-8C97-647CAD88AACA}" destId="{A94248A6-D2E8-485E-9E62-5C92ED0443B3}" srcOrd="0" destOrd="0" presId="urn:microsoft.com/office/officeart/2005/8/layout/chevron2"/>
    <dgm:cxn modelId="{63CA9B4C-3E1A-4EBA-BABF-9C7142A91913}" type="presParOf" srcId="{8CFD5E99-609B-4653-8C97-647CAD88AACA}" destId="{39E074F9-76A1-4C59-B577-D282E44B99A8}" srcOrd="1" destOrd="0" presId="urn:microsoft.com/office/officeart/2005/8/layout/chevron2"/>
    <dgm:cxn modelId="{69524BF3-CDE7-4D80-BA16-5E5CAAFFE78A}" type="presParOf" srcId="{8E23D605-A981-4BA1-8BFC-E6DFAC82F362}" destId="{CAD19BCE-2173-4779-B779-F23C6BCA0394}" srcOrd="5" destOrd="0" presId="urn:microsoft.com/office/officeart/2005/8/layout/chevron2"/>
    <dgm:cxn modelId="{13056F52-6D3C-46B9-B588-B34C59C437DE}" type="presParOf" srcId="{8E23D605-A981-4BA1-8BFC-E6DFAC82F362}" destId="{3A56AB36-B0D2-4149-9DA0-C5A6E5DFDC40}" srcOrd="6" destOrd="0" presId="urn:microsoft.com/office/officeart/2005/8/layout/chevron2"/>
    <dgm:cxn modelId="{86A5E245-4F49-406B-BF1F-6EA3D2D7FC27}" type="presParOf" srcId="{3A56AB36-B0D2-4149-9DA0-C5A6E5DFDC40}" destId="{B94844A5-C16C-44E2-B6E8-031F7984E5F9}" srcOrd="0" destOrd="0" presId="urn:microsoft.com/office/officeart/2005/8/layout/chevron2"/>
    <dgm:cxn modelId="{F03D4FBE-FBDD-4065-81FE-B2118BCDED55}" type="presParOf" srcId="{3A56AB36-B0D2-4149-9DA0-C5A6E5DFDC40}" destId="{6C1DB4BC-CF26-4521-9D04-D443ED2FE1ED}" srcOrd="1" destOrd="0" presId="urn:microsoft.com/office/officeart/2005/8/layout/chevron2"/>
    <dgm:cxn modelId="{EC211226-A8D6-4671-B764-B8A675D699DB}" type="presParOf" srcId="{8E23D605-A981-4BA1-8BFC-E6DFAC82F362}" destId="{CCF28513-DE39-4D2F-BA67-E5BAA3BDF62D}" srcOrd="7" destOrd="0" presId="urn:microsoft.com/office/officeart/2005/8/layout/chevron2"/>
    <dgm:cxn modelId="{F90A0A07-B0FD-4163-AAE8-0F4C4D6CE349}" type="presParOf" srcId="{8E23D605-A981-4BA1-8BFC-E6DFAC82F362}" destId="{8379AB0F-0C4E-485D-832E-25EB042FC122}" srcOrd="8" destOrd="0" presId="urn:microsoft.com/office/officeart/2005/8/layout/chevron2"/>
    <dgm:cxn modelId="{6D6F0694-ACD0-4F67-942B-F1DC04B4F9E7}" type="presParOf" srcId="{8379AB0F-0C4E-485D-832E-25EB042FC122}" destId="{060616D5-3362-491E-AD71-9E27832684FB}" srcOrd="0" destOrd="0" presId="urn:microsoft.com/office/officeart/2005/8/layout/chevron2"/>
    <dgm:cxn modelId="{EDBB34A4-992D-4B06-9620-C75CDEBBD166}" type="presParOf" srcId="{8379AB0F-0C4E-485D-832E-25EB042FC122}" destId="{B6797E1D-E46B-414C-9927-51CBE7756290}" srcOrd="1" destOrd="0" presId="urn:microsoft.com/office/officeart/2005/8/layout/chevron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B88868-A386-4D96-AEF6-13B122EF650B}" type="doc">
      <dgm:prSet loTypeId="urn:microsoft.com/office/officeart/2005/8/layout/chevron2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0AB8405C-6BD8-46A6-891F-96105603934B}">
      <dgm:prSet phldrT="[Text]"/>
      <dgm:spPr>
        <a:xfrm rot="5400000">
          <a:off x="-188326" y="191133"/>
          <a:ext cx="1255509" cy="878856"/>
        </a:xfrm>
        <a:prstGeom prst="chevron">
          <a:avLst/>
        </a:prstGeom>
        <a:solidFill>
          <a:srgbClr val="C6163B"/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ekom21</a:t>
          </a:r>
        </a:p>
      </dgm:t>
    </dgm:pt>
    <dgm:pt modelId="{126B96DC-F9D8-4BC3-BC40-30818E6380E2}" type="parTrans" cxnId="{F4DC6C29-C8ED-41CD-BA4F-1A9A777FB88B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DFB6BB38-350B-4EEB-8CA9-38BF8EF376F1}" type="sibTrans" cxnId="{F4DC6C29-C8ED-41CD-BA4F-1A9A777FB88B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F76E5821-018A-48A3-902C-83E939C59817}">
      <dgm:prSet phldrT="[Text]"/>
      <dgm:spPr>
        <a:xfrm rot="5400000">
          <a:off x="-188326" y="1300050"/>
          <a:ext cx="1255509" cy="878856"/>
        </a:xfrm>
        <a:prstGeom prst="chevron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ABH</a:t>
          </a:r>
        </a:p>
      </dgm:t>
    </dgm:pt>
    <dgm:pt modelId="{548CF976-3A04-4C6A-AD5A-6EE46118D929}" type="parTrans" cxnId="{226CCE20-1251-4F1E-B937-A4B3415004E0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0BE306A0-61B5-4189-951B-1CA8C71759E5}" type="sibTrans" cxnId="{226CCE20-1251-4F1E-B937-A4B3415004E0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831D5090-0697-417F-834F-92246905B08E}">
      <dgm:prSet phldrT="[Text]" custT="1"/>
      <dgm:spPr>
        <a:xfrm rot="5400000">
          <a:off x="5502996" y="-4621835"/>
          <a:ext cx="816081" cy="10065368"/>
        </a:xfrm>
        <a:prstGeom prst="round2SameRect">
          <a:avLst/>
        </a:prstGeom>
        <a:solidFill>
          <a:srgbClr val="C6163B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sz="1400" dirty="0">
              <a:solidFill>
                <a:srgbClr val="FFFFFF"/>
              </a:solidFill>
              <a:latin typeface="Tahoma"/>
              <a:ea typeface="+mn-ea"/>
              <a:cs typeface="+mn-cs"/>
            </a:rPr>
            <a:t> Versand des QS Links</a:t>
          </a:r>
        </a:p>
      </dgm:t>
    </dgm:pt>
    <dgm:pt modelId="{8151D0E1-F329-4D36-B498-579AA12C7280}" type="parTrans" cxnId="{1D99F4E4-8B9F-4928-BE02-AA79E4DADA40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9FA4A6D7-053F-4415-A316-C8544249D354}" type="sibTrans" cxnId="{1D99F4E4-8B9F-4928-BE02-AA79E4DADA40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78A06C05-421B-4CCC-ABE5-78847F83A171}">
      <dgm:prSet phldrT="[Text]" custT="1"/>
      <dgm:spPr>
        <a:xfrm rot="5400000">
          <a:off x="5502996" y="-4621835"/>
          <a:ext cx="816081" cy="10065368"/>
        </a:xfrm>
        <a:prstGeom prst="round2SameRect">
          <a:avLst/>
        </a:prstGeom>
        <a:solidFill>
          <a:srgbClr val="C6163B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sz="1400" dirty="0">
              <a:solidFill>
                <a:srgbClr val="FFFFFF"/>
              </a:solidFill>
              <a:latin typeface="Tahoma"/>
              <a:ea typeface="+mn-ea"/>
              <a:cs typeface="+mn-cs"/>
            </a:rPr>
            <a:t> Mandatierung in civento</a:t>
          </a:r>
        </a:p>
      </dgm:t>
    </dgm:pt>
    <dgm:pt modelId="{294ABFE2-2EC1-4058-A22D-ACD713F9618D}" type="parTrans" cxnId="{54F034A7-E3B6-4A45-B58B-06791B39AF02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4D7D9F36-24AF-48B5-AA15-34E07ACB9930}" type="sibTrans" cxnId="{54F034A7-E3B6-4A45-B58B-06791B39AF02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3E2D64B3-BD1B-41C3-8810-6EC625C6A314}">
      <dgm:prSet phldrT="[Text]" custT="1"/>
      <dgm:spPr>
        <a:xfrm rot="5400000">
          <a:off x="5503500" y="-3512919"/>
          <a:ext cx="816081" cy="10065368"/>
        </a:xfrm>
        <a:prstGeom prst="round2SameRect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sz="1400" dirty="0">
              <a:solidFill>
                <a:srgbClr val="FFFFFF"/>
              </a:solidFill>
              <a:latin typeface="Tahoma"/>
              <a:ea typeface="+mn-ea"/>
              <a:cs typeface="+mn-cs"/>
            </a:rPr>
            <a:t> Testet die Mandatierung auf QS</a:t>
          </a:r>
        </a:p>
      </dgm:t>
    </dgm:pt>
    <dgm:pt modelId="{C0485224-4179-4B21-A328-982AFAB5C953}" type="parTrans" cxnId="{AAE8DCB7-C7FB-4E76-A2D1-C2D34496A46C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68E30DE4-5944-4C90-B1EC-F735F7273EF3}" type="sibTrans" cxnId="{AAE8DCB7-C7FB-4E76-A2D1-C2D34496A46C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D2E3BDAD-AD91-4B1B-B8AF-2F6E3C9ACF62}">
      <dgm:prSet phldrT="[Text]" custT="1"/>
      <dgm:spPr>
        <a:xfrm rot="5400000">
          <a:off x="5503500" y="-2404002"/>
          <a:ext cx="816081" cy="10065368"/>
        </a:xfrm>
        <a:prstGeom prst="round2SameRect">
          <a:avLst/>
        </a:prstGeom>
        <a:solidFill>
          <a:srgbClr val="C6163B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sz="1400" dirty="0">
              <a:solidFill>
                <a:srgbClr val="FFFFFF"/>
              </a:solidFill>
              <a:latin typeface="Tahoma"/>
              <a:ea typeface="+mn-ea"/>
              <a:cs typeface="+mn-cs"/>
            </a:rPr>
            <a:t> Sendet den Produktiv-Link</a:t>
          </a:r>
        </a:p>
      </dgm:t>
    </dgm:pt>
    <dgm:pt modelId="{9593D931-9D33-4211-ADAC-5D70D6603CEE}" type="parTrans" cxnId="{D03F2AF6-ACC2-49C8-A5ED-9F73B42A1A3F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9AB1ABD2-2D6A-442F-936A-60EA01744137}" type="sibTrans" cxnId="{D03F2AF6-ACC2-49C8-A5ED-9F73B42A1A3F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D0748DFC-3C1B-4DB2-B46E-0E4744EE24FC}">
      <dgm:prSet phldrT="[Text]"/>
      <dgm:spPr>
        <a:xfrm rot="5400000">
          <a:off x="-188326" y="2408967"/>
          <a:ext cx="1255509" cy="878856"/>
        </a:xfrm>
        <a:prstGeom prst="chevron">
          <a:avLst/>
        </a:prstGeom>
        <a:solidFill>
          <a:srgbClr val="C6163B"/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ekom21</a:t>
          </a:r>
        </a:p>
      </dgm:t>
    </dgm:pt>
    <dgm:pt modelId="{68025ED0-4231-4517-874F-ACBF0047D667}" type="parTrans" cxnId="{795147DA-2D53-427D-8D1B-DD729752D7A3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E4E13914-47D6-4ABE-83D9-17A21AFDAD77}" type="sibTrans" cxnId="{795147DA-2D53-427D-8D1B-DD729752D7A3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6FD5000C-9FD6-4D2C-BC22-D30EBFC82F42}">
      <dgm:prSet phldrT="[Text]" custT="1"/>
      <dgm:spPr>
        <a:xfrm rot="5400000">
          <a:off x="5503500" y="-1295085"/>
          <a:ext cx="816081" cy="10065368"/>
        </a:xfrm>
        <a:prstGeom prst="round2SameRect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sz="1400" dirty="0">
              <a:solidFill>
                <a:srgbClr val="FFFFFF"/>
              </a:solidFill>
              <a:latin typeface="Tahoma"/>
              <a:ea typeface="+mn-ea"/>
              <a:cs typeface="+mn-cs"/>
            </a:rPr>
            <a:t> Führt eine </a:t>
          </a:r>
          <a:r>
            <a:rPr lang="de-DE" sz="1400" dirty="0" smtClean="0">
              <a:solidFill>
                <a:srgbClr val="FFFFFF"/>
              </a:solidFill>
              <a:latin typeface="Tahoma"/>
              <a:ea typeface="+mn-ea"/>
              <a:cs typeface="+mn-cs"/>
            </a:rPr>
            <a:t>ePayment </a:t>
          </a:r>
          <a:r>
            <a:rPr lang="de-DE" sz="1400" dirty="0">
              <a:solidFill>
                <a:srgbClr val="FFFFFF"/>
              </a:solidFill>
              <a:latin typeface="Tahoma"/>
              <a:ea typeface="+mn-ea"/>
              <a:cs typeface="+mn-cs"/>
            </a:rPr>
            <a:t>Testzahlung durch</a:t>
          </a:r>
        </a:p>
      </dgm:t>
    </dgm:pt>
    <dgm:pt modelId="{94E5F310-5EF1-4FF1-9F4A-7D6227018670}" type="parTrans" cxnId="{CCEB67F9-BCF8-413C-8077-B68D95D90CFE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4E233A77-0006-42D4-9664-A8C80FFCDDE3}" type="sibTrans" cxnId="{CCEB67F9-BCF8-413C-8077-B68D95D90CFE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D5F34639-62EF-4E03-A1E9-D13FBCB21E6F}">
      <dgm:prSet phldrT="[Text]"/>
      <dgm:spPr>
        <a:xfrm rot="5400000">
          <a:off x="-188326" y="3517884"/>
          <a:ext cx="1255509" cy="878856"/>
        </a:xfrm>
        <a:prstGeom prst="chevron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dirty="0">
              <a:solidFill>
                <a:srgbClr val="FFFFFF"/>
              </a:solidFill>
              <a:latin typeface="Tahoma"/>
              <a:ea typeface="+mn-ea"/>
              <a:cs typeface="+mn-cs"/>
            </a:rPr>
            <a:t>ABH</a:t>
          </a:r>
        </a:p>
      </dgm:t>
    </dgm:pt>
    <dgm:pt modelId="{A3676EB1-50AA-4384-BAA6-03B4783B5555}" type="parTrans" cxnId="{09CA669D-ACA2-4C0B-8BBB-53B47EB809FC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026708AA-3E59-47CD-B89B-6132CAA5A622}" type="sibTrans" cxnId="{09CA669D-ACA2-4C0B-8BBB-53B47EB809FC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DA599287-1A00-4182-9080-A5A37CE7E174}">
      <dgm:prSet phldrT="[Text]" custT="1"/>
      <dgm:spPr>
        <a:xfrm rot="5400000">
          <a:off x="5503500" y="-1295085"/>
          <a:ext cx="816081" cy="10065368"/>
        </a:xfrm>
        <a:prstGeom prst="round2SameRect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sz="1400" dirty="0">
              <a:solidFill>
                <a:srgbClr val="FFFFFF"/>
              </a:solidFill>
              <a:latin typeface="Tahoma"/>
              <a:ea typeface="+mn-ea"/>
              <a:cs typeface="+mn-cs"/>
            </a:rPr>
            <a:t> Schaltet den Produktiv-Link auf ihrer Webseite frei</a:t>
          </a:r>
        </a:p>
      </dgm:t>
    </dgm:pt>
    <dgm:pt modelId="{CBFA212D-6D1E-44FD-BBE8-80AB483841BF}" type="parTrans" cxnId="{304AA28D-EC9B-4933-A058-3FBAB6FD0979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2470ACB2-B65C-412E-8169-57447BFBE2F0}" type="sibTrans" cxnId="{304AA28D-EC9B-4933-A058-3FBAB6FD0979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07B10E4B-1A92-4FA4-9537-7B7BCC8F8B40}">
      <dgm:prSet phldrT="[Text]" custT="1"/>
      <dgm:spPr>
        <a:xfrm rot="5400000">
          <a:off x="5503500" y="-3512919"/>
          <a:ext cx="816081" cy="10065368"/>
        </a:xfrm>
        <a:prstGeom prst="round2SameRect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sz="1400" dirty="0">
              <a:solidFill>
                <a:srgbClr val="FFFFFF"/>
              </a:solidFill>
              <a:latin typeface="Tahoma"/>
              <a:ea typeface="+mn-ea"/>
              <a:cs typeface="+mn-cs"/>
            </a:rPr>
            <a:t> Freigabe und Bestätigung</a:t>
          </a:r>
        </a:p>
      </dgm:t>
    </dgm:pt>
    <dgm:pt modelId="{361DA263-E1F3-47EE-8F79-1B4C96E20CAC}" type="parTrans" cxnId="{771DDE81-7D2A-4BAD-9FDA-E9D25D759395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67B981C8-B66A-4CDB-AA6F-26EF1690A638}" type="sibTrans" cxnId="{771DDE81-7D2A-4BAD-9FDA-E9D25D759395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897D9599-4C18-41C6-8A59-90818004F9A4}">
      <dgm:prSet phldrT="[Text]" custT="1"/>
      <dgm:spPr>
        <a:xfrm rot="5400000">
          <a:off x="5503500" y="-1295085"/>
          <a:ext cx="816081" cy="10065368"/>
        </a:xfrm>
        <a:prstGeom prst="round2SameRect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sz="1400" b="1" dirty="0">
              <a:solidFill>
                <a:srgbClr val="FFFFFF"/>
              </a:solidFill>
              <a:latin typeface="Tahoma"/>
              <a:ea typeface="+mn-ea"/>
              <a:cs typeface="+mn-cs"/>
            </a:rPr>
            <a:t> </a:t>
          </a:r>
          <a:r>
            <a:rPr lang="de-DE" sz="1300" b="1" dirty="0">
              <a:solidFill>
                <a:srgbClr val="FFFFFF"/>
              </a:solidFill>
              <a:latin typeface="Tahoma"/>
              <a:ea typeface="+mn-ea"/>
              <a:cs typeface="+mn-cs"/>
            </a:rPr>
            <a:t>Achtung! Auf Produktion sind es echte Zahlungen, bitte diese immer mit der Kasse abstimmen</a:t>
          </a:r>
        </a:p>
      </dgm:t>
    </dgm:pt>
    <dgm:pt modelId="{35498B2F-1C4C-4A0B-9858-1FA31E6FCD39}" type="parTrans" cxnId="{19A31E42-16A3-4DDD-827E-1B9C7FA470FA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B5E39478-9E41-4C9E-8B2F-05023091F284}" type="sibTrans" cxnId="{19A31E42-16A3-4DDD-827E-1B9C7FA470FA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C13113E1-66B7-4AAE-913E-BF8AFEFB359B}">
      <dgm:prSet phldrT="[Text]" custT="1"/>
      <dgm:spPr>
        <a:xfrm rot="5400000">
          <a:off x="5503500" y="-1295085"/>
          <a:ext cx="816081" cy="10065368"/>
        </a:xfrm>
        <a:prstGeom prst="round2SameRect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gm:spPr>
      <dgm:t>
        <a:bodyPr/>
        <a:lstStyle/>
        <a:p>
          <a:r>
            <a:rPr lang="de-DE" sz="1400" dirty="0">
              <a:solidFill>
                <a:srgbClr val="FFFFFF"/>
              </a:solidFill>
              <a:latin typeface="Tahoma"/>
              <a:ea typeface="+mn-ea"/>
              <a:cs typeface="+mn-cs"/>
            </a:rPr>
            <a:t> Die Testzahlungen werden von den ABHs in Abstimmung mit ihrer Kasse ohne Beteiligung der ekom21 durchgeführt</a:t>
          </a:r>
        </a:p>
      </dgm:t>
    </dgm:pt>
    <dgm:pt modelId="{D621122C-F47F-49E6-84D8-6A0990FAC3C9}" type="parTrans" cxnId="{CEE5475D-2938-4BA0-BE6E-AF4D978065E7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45777EDA-3C81-4B0C-82F7-448BCE4D8CDA}" type="sibTrans" cxnId="{CEE5475D-2938-4BA0-BE6E-AF4D978065E7}">
      <dgm:prSet/>
      <dgm:spPr/>
      <dgm:t>
        <a:bodyPr/>
        <a:lstStyle/>
        <a:p>
          <a:endParaRPr lang="de-DE">
            <a:solidFill>
              <a:schemeClr val="bg1"/>
            </a:solidFill>
          </a:endParaRPr>
        </a:p>
      </dgm:t>
    </dgm:pt>
    <dgm:pt modelId="{8E23D605-A981-4BA1-8BFC-E6DFAC82F362}" type="pres">
      <dgm:prSet presAssocID="{37B88868-A386-4D96-AEF6-13B122EF650B}" presName="linearFlow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F2B7E4FB-0B0D-4706-A978-96DB8AB82B64}" type="pres">
      <dgm:prSet presAssocID="{0AB8405C-6BD8-46A6-891F-96105603934B}" presName="composite" presStyleCnt="0"/>
      <dgm:spPr/>
    </dgm:pt>
    <dgm:pt modelId="{5216B07E-FD98-4562-937C-528D26FDB935}" type="pres">
      <dgm:prSet presAssocID="{0AB8405C-6BD8-46A6-891F-96105603934B}" presName="parentText" presStyleLbl="align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02C400E-7D66-4EB5-B01F-DA30D86637D7}" type="pres">
      <dgm:prSet presAssocID="{0AB8405C-6BD8-46A6-891F-96105603934B}" presName="descendantText" presStyleLbl="alignAcc1" presStyleIdx="0" presStyleCnt="4" custLinFactNeighborX="-5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DC9C082-13C1-4DFD-A35B-9BF5D9CBF321}" type="pres">
      <dgm:prSet presAssocID="{DFB6BB38-350B-4EEB-8CA9-38BF8EF376F1}" presName="sp" presStyleCnt="0"/>
      <dgm:spPr/>
    </dgm:pt>
    <dgm:pt modelId="{7FD583E2-0A6D-4E21-8B8F-56F6B6FF1064}" type="pres">
      <dgm:prSet presAssocID="{F76E5821-018A-48A3-902C-83E939C59817}" presName="composite" presStyleCnt="0"/>
      <dgm:spPr/>
    </dgm:pt>
    <dgm:pt modelId="{318FE9E9-0D95-46F8-B69A-4BB0E1415015}" type="pres">
      <dgm:prSet presAssocID="{F76E5821-018A-48A3-902C-83E939C59817}" presName="parentText" presStyleLbl="align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64A1A105-4E09-467C-8B09-B02326DE3F13}" type="pres">
      <dgm:prSet presAssocID="{F76E5821-018A-48A3-902C-83E939C59817}" presName="descendantText" presStyleLbl="alignAcc1" presStyleIdx="1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E0291DF1-D6F5-40DD-A80A-7A92ECEEAAAA}" type="pres">
      <dgm:prSet presAssocID="{0BE306A0-61B5-4189-951B-1CA8C71759E5}" presName="sp" presStyleCnt="0"/>
      <dgm:spPr/>
    </dgm:pt>
    <dgm:pt modelId="{55C0562F-DFBA-4330-8C36-BA3E29136996}" type="pres">
      <dgm:prSet presAssocID="{D0748DFC-3C1B-4DB2-B46E-0E4744EE24FC}" presName="composite" presStyleCnt="0"/>
      <dgm:spPr/>
    </dgm:pt>
    <dgm:pt modelId="{B01F9871-3D02-4497-921F-B31E49F1FEA8}" type="pres">
      <dgm:prSet presAssocID="{D0748DFC-3C1B-4DB2-B46E-0E4744EE24FC}" presName="parentText" presStyleLbl="align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B0E842E4-4EA7-4C6F-8D19-E700B677B44E}" type="pres">
      <dgm:prSet presAssocID="{D0748DFC-3C1B-4DB2-B46E-0E4744EE24FC}" presName="descendantText" presStyleLbl="alignAcc1" presStyleIdx="2" presStyleCnt="4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C6B6B18-0BD2-4E85-903C-0352941C10C1}" type="pres">
      <dgm:prSet presAssocID="{E4E13914-47D6-4ABE-83D9-17A21AFDAD77}" presName="sp" presStyleCnt="0"/>
      <dgm:spPr/>
    </dgm:pt>
    <dgm:pt modelId="{E3DB69A8-257A-4EE3-987E-BED75400E4BD}" type="pres">
      <dgm:prSet presAssocID="{D5F34639-62EF-4E03-A1E9-D13FBCB21E6F}" presName="composite" presStyleCnt="0"/>
      <dgm:spPr/>
    </dgm:pt>
    <dgm:pt modelId="{BCC17760-6DD2-42D4-BB71-6C7ADCDAD164}" type="pres">
      <dgm:prSet presAssocID="{D5F34639-62EF-4E03-A1E9-D13FBCB21E6F}" presName="parentText" presStyleLbl="align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7907A29-9002-406A-B414-5F04D293F042}" type="pres">
      <dgm:prSet presAssocID="{D5F34639-62EF-4E03-A1E9-D13FBCB21E6F}" presName="descendantText" presStyleLbl="alignAcc1" presStyleIdx="3" presStyleCnt="4" custScaleY="128280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AE679F5E-B148-4F2C-87AB-D760C5B0A4CB}" type="presOf" srcId="{897D9599-4C18-41C6-8A59-90818004F9A4}" destId="{07907A29-9002-406A-B414-5F04D293F042}" srcOrd="0" destOrd="1" presId="urn:microsoft.com/office/officeart/2005/8/layout/chevron2"/>
    <dgm:cxn modelId="{F4DC6C29-C8ED-41CD-BA4F-1A9A777FB88B}" srcId="{37B88868-A386-4D96-AEF6-13B122EF650B}" destId="{0AB8405C-6BD8-46A6-891F-96105603934B}" srcOrd="0" destOrd="0" parTransId="{126B96DC-F9D8-4BC3-BC40-30818E6380E2}" sibTransId="{DFB6BB38-350B-4EEB-8CA9-38BF8EF376F1}"/>
    <dgm:cxn modelId="{09CA669D-ACA2-4C0B-8BBB-53B47EB809FC}" srcId="{37B88868-A386-4D96-AEF6-13B122EF650B}" destId="{D5F34639-62EF-4E03-A1E9-D13FBCB21E6F}" srcOrd="3" destOrd="0" parTransId="{A3676EB1-50AA-4384-BAA6-03B4783B5555}" sibTransId="{026708AA-3E59-47CD-B89B-6132CAA5A622}"/>
    <dgm:cxn modelId="{0D3CCA65-DD8C-49D0-954B-082A1CDF4050}" type="presOf" srcId="{6FD5000C-9FD6-4D2C-BC22-D30EBFC82F42}" destId="{07907A29-9002-406A-B414-5F04D293F042}" srcOrd="0" destOrd="0" presId="urn:microsoft.com/office/officeart/2005/8/layout/chevron2"/>
    <dgm:cxn modelId="{50BD54BB-B5A9-409F-8C16-39393A50E9BE}" type="presOf" srcId="{D0748DFC-3C1B-4DB2-B46E-0E4744EE24FC}" destId="{B01F9871-3D02-4497-921F-B31E49F1FEA8}" srcOrd="0" destOrd="0" presId="urn:microsoft.com/office/officeart/2005/8/layout/chevron2"/>
    <dgm:cxn modelId="{54F034A7-E3B6-4A45-B58B-06791B39AF02}" srcId="{0AB8405C-6BD8-46A6-891F-96105603934B}" destId="{78A06C05-421B-4CCC-ABE5-78847F83A171}" srcOrd="0" destOrd="0" parTransId="{294ABFE2-2EC1-4058-A22D-ACD713F9618D}" sibTransId="{4D7D9F36-24AF-48B5-AA15-34E07ACB9930}"/>
    <dgm:cxn modelId="{771DDE81-7D2A-4BAD-9FDA-E9D25D759395}" srcId="{F76E5821-018A-48A3-902C-83E939C59817}" destId="{07B10E4B-1A92-4FA4-9537-7B7BCC8F8B40}" srcOrd="1" destOrd="0" parTransId="{361DA263-E1F3-47EE-8F79-1B4C96E20CAC}" sibTransId="{67B981C8-B66A-4CDB-AA6F-26EF1690A638}"/>
    <dgm:cxn modelId="{FD7B0F1D-9D96-4DA0-ACD6-79196C06A813}" type="presOf" srcId="{3E2D64B3-BD1B-41C3-8810-6EC625C6A314}" destId="{64A1A105-4E09-467C-8B09-B02326DE3F13}" srcOrd="0" destOrd="0" presId="urn:microsoft.com/office/officeart/2005/8/layout/chevron2"/>
    <dgm:cxn modelId="{4FD2AEC7-C31D-405F-84BF-406C6C9B19B5}" type="presOf" srcId="{DA599287-1A00-4182-9080-A5A37CE7E174}" destId="{07907A29-9002-406A-B414-5F04D293F042}" srcOrd="0" destOrd="3" presId="urn:microsoft.com/office/officeart/2005/8/layout/chevron2"/>
    <dgm:cxn modelId="{05C5883B-7362-4A55-B0BC-2B56DD54AE7A}" type="presOf" srcId="{37B88868-A386-4D96-AEF6-13B122EF650B}" destId="{8E23D605-A981-4BA1-8BFC-E6DFAC82F362}" srcOrd="0" destOrd="0" presId="urn:microsoft.com/office/officeart/2005/8/layout/chevron2"/>
    <dgm:cxn modelId="{E1710DE9-00AF-47B9-9DE9-0AAC1F729BCA}" type="presOf" srcId="{F76E5821-018A-48A3-902C-83E939C59817}" destId="{318FE9E9-0D95-46F8-B69A-4BB0E1415015}" srcOrd="0" destOrd="0" presId="urn:microsoft.com/office/officeart/2005/8/layout/chevron2"/>
    <dgm:cxn modelId="{A5D4026D-5F3A-4951-8D3A-11B5ED0056E0}" type="presOf" srcId="{0AB8405C-6BD8-46A6-891F-96105603934B}" destId="{5216B07E-FD98-4562-937C-528D26FDB935}" srcOrd="0" destOrd="0" presId="urn:microsoft.com/office/officeart/2005/8/layout/chevron2"/>
    <dgm:cxn modelId="{70CE8C73-794D-4FB0-B5AC-95D6F540C75C}" type="presOf" srcId="{78A06C05-421B-4CCC-ABE5-78847F83A171}" destId="{E02C400E-7D66-4EB5-B01F-DA30D86637D7}" srcOrd="0" destOrd="0" presId="urn:microsoft.com/office/officeart/2005/8/layout/chevron2"/>
    <dgm:cxn modelId="{F48F243C-DFF4-49AD-9ED4-52EA88ED9546}" type="presOf" srcId="{07B10E4B-1A92-4FA4-9537-7B7BCC8F8B40}" destId="{64A1A105-4E09-467C-8B09-B02326DE3F13}" srcOrd="0" destOrd="1" presId="urn:microsoft.com/office/officeart/2005/8/layout/chevron2"/>
    <dgm:cxn modelId="{8D746CB0-6E41-489A-92F8-0E6E474552F0}" type="presOf" srcId="{C13113E1-66B7-4AAE-913E-BF8AFEFB359B}" destId="{07907A29-9002-406A-B414-5F04D293F042}" srcOrd="0" destOrd="2" presId="urn:microsoft.com/office/officeart/2005/8/layout/chevron2"/>
    <dgm:cxn modelId="{19A31E42-16A3-4DDD-827E-1B9C7FA470FA}" srcId="{6FD5000C-9FD6-4D2C-BC22-D30EBFC82F42}" destId="{897D9599-4C18-41C6-8A59-90818004F9A4}" srcOrd="0" destOrd="0" parTransId="{35498B2F-1C4C-4A0B-9858-1FA31E6FCD39}" sibTransId="{B5E39478-9E41-4C9E-8B2F-05023091F284}"/>
    <dgm:cxn modelId="{1CEC7B1D-5CE0-44DF-A534-3F9978E2C991}" type="presOf" srcId="{D5F34639-62EF-4E03-A1E9-D13FBCB21E6F}" destId="{BCC17760-6DD2-42D4-BB71-6C7ADCDAD164}" srcOrd="0" destOrd="0" presId="urn:microsoft.com/office/officeart/2005/8/layout/chevron2"/>
    <dgm:cxn modelId="{304AA28D-EC9B-4933-A058-3FBAB6FD0979}" srcId="{D5F34639-62EF-4E03-A1E9-D13FBCB21E6F}" destId="{DA599287-1A00-4182-9080-A5A37CE7E174}" srcOrd="1" destOrd="0" parTransId="{CBFA212D-6D1E-44FD-BBE8-80AB483841BF}" sibTransId="{2470ACB2-B65C-412E-8169-57447BFBE2F0}"/>
    <dgm:cxn modelId="{795147DA-2D53-427D-8D1B-DD729752D7A3}" srcId="{37B88868-A386-4D96-AEF6-13B122EF650B}" destId="{D0748DFC-3C1B-4DB2-B46E-0E4744EE24FC}" srcOrd="2" destOrd="0" parTransId="{68025ED0-4231-4517-874F-ACBF0047D667}" sibTransId="{E4E13914-47D6-4ABE-83D9-17A21AFDAD77}"/>
    <dgm:cxn modelId="{1D99F4E4-8B9F-4928-BE02-AA79E4DADA40}" srcId="{0AB8405C-6BD8-46A6-891F-96105603934B}" destId="{831D5090-0697-417F-834F-92246905B08E}" srcOrd="1" destOrd="0" parTransId="{8151D0E1-F329-4D36-B498-579AA12C7280}" sibTransId="{9FA4A6D7-053F-4415-A316-C8544249D354}"/>
    <dgm:cxn modelId="{CEE5475D-2938-4BA0-BE6E-AF4D978065E7}" srcId="{6FD5000C-9FD6-4D2C-BC22-D30EBFC82F42}" destId="{C13113E1-66B7-4AAE-913E-BF8AFEFB359B}" srcOrd="1" destOrd="0" parTransId="{D621122C-F47F-49E6-84D8-6A0990FAC3C9}" sibTransId="{45777EDA-3C81-4B0C-82F7-448BCE4D8CDA}"/>
    <dgm:cxn modelId="{3FCBEBF2-AA8F-4A1B-BB38-FC5BC9CDC47C}" type="presOf" srcId="{831D5090-0697-417F-834F-92246905B08E}" destId="{E02C400E-7D66-4EB5-B01F-DA30D86637D7}" srcOrd="0" destOrd="1" presId="urn:microsoft.com/office/officeart/2005/8/layout/chevron2"/>
    <dgm:cxn modelId="{226CCE20-1251-4F1E-B937-A4B3415004E0}" srcId="{37B88868-A386-4D96-AEF6-13B122EF650B}" destId="{F76E5821-018A-48A3-902C-83E939C59817}" srcOrd="1" destOrd="0" parTransId="{548CF976-3A04-4C6A-AD5A-6EE46118D929}" sibTransId="{0BE306A0-61B5-4189-951B-1CA8C71759E5}"/>
    <dgm:cxn modelId="{CCEB67F9-BCF8-413C-8077-B68D95D90CFE}" srcId="{D5F34639-62EF-4E03-A1E9-D13FBCB21E6F}" destId="{6FD5000C-9FD6-4D2C-BC22-D30EBFC82F42}" srcOrd="0" destOrd="0" parTransId="{94E5F310-5EF1-4FF1-9F4A-7D6227018670}" sibTransId="{4E233A77-0006-42D4-9664-A8C80FFCDDE3}"/>
    <dgm:cxn modelId="{D03F2AF6-ACC2-49C8-A5ED-9F73B42A1A3F}" srcId="{D0748DFC-3C1B-4DB2-B46E-0E4744EE24FC}" destId="{D2E3BDAD-AD91-4B1B-B8AF-2F6E3C9ACF62}" srcOrd="0" destOrd="0" parTransId="{9593D931-9D33-4211-ADAC-5D70D6603CEE}" sibTransId="{9AB1ABD2-2D6A-442F-936A-60EA01744137}"/>
    <dgm:cxn modelId="{AAE8DCB7-C7FB-4E76-A2D1-C2D34496A46C}" srcId="{F76E5821-018A-48A3-902C-83E939C59817}" destId="{3E2D64B3-BD1B-41C3-8810-6EC625C6A314}" srcOrd="0" destOrd="0" parTransId="{C0485224-4179-4B21-A328-982AFAB5C953}" sibTransId="{68E30DE4-5944-4C90-B1EC-F735F7273EF3}"/>
    <dgm:cxn modelId="{F76358CF-C0BA-4643-A2D8-22B38BA41D03}" type="presOf" srcId="{D2E3BDAD-AD91-4B1B-B8AF-2F6E3C9ACF62}" destId="{B0E842E4-4EA7-4C6F-8D19-E700B677B44E}" srcOrd="0" destOrd="0" presId="urn:microsoft.com/office/officeart/2005/8/layout/chevron2"/>
    <dgm:cxn modelId="{9A8AA51F-E38B-47BE-82A6-315C5ABDC277}" type="presParOf" srcId="{8E23D605-A981-4BA1-8BFC-E6DFAC82F362}" destId="{F2B7E4FB-0B0D-4706-A978-96DB8AB82B64}" srcOrd="0" destOrd="0" presId="urn:microsoft.com/office/officeart/2005/8/layout/chevron2"/>
    <dgm:cxn modelId="{2C43D1FD-B07B-4BB6-A492-C000089A0879}" type="presParOf" srcId="{F2B7E4FB-0B0D-4706-A978-96DB8AB82B64}" destId="{5216B07E-FD98-4562-937C-528D26FDB935}" srcOrd="0" destOrd="0" presId="urn:microsoft.com/office/officeart/2005/8/layout/chevron2"/>
    <dgm:cxn modelId="{1285378B-08A4-46EB-AC6D-C0A82144062B}" type="presParOf" srcId="{F2B7E4FB-0B0D-4706-A978-96DB8AB82B64}" destId="{E02C400E-7D66-4EB5-B01F-DA30D86637D7}" srcOrd="1" destOrd="0" presId="urn:microsoft.com/office/officeart/2005/8/layout/chevron2"/>
    <dgm:cxn modelId="{3FE101FF-D248-4452-B4D1-16BA9D629980}" type="presParOf" srcId="{8E23D605-A981-4BA1-8BFC-E6DFAC82F362}" destId="{BDC9C082-13C1-4DFD-A35B-9BF5D9CBF321}" srcOrd="1" destOrd="0" presId="urn:microsoft.com/office/officeart/2005/8/layout/chevron2"/>
    <dgm:cxn modelId="{5EE6991C-7BCA-4754-9840-CB76327A2CC9}" type="presParOf" srcId="{8E23D605-A981-4BA1-8BFC-E6DFAC82F362}" destId="{7FD583E2-0A6D-4E21-8B8F-56F6B6FF1064}" srcOrd="2" destOrd="0" presId="urn:microsoft.com/office/officeart/2005/8/layout/chevron2"/>
    <dgm:cxn modelId="{FF20FE68-05B1-4E43-A4F4-34131CF32EE7}" type="presParOf" srcId="{7FD583E2-0A6D-4E21-8B8F-56F6B6FF1064}" destId="{318FE9E9-0D95-46F8-B69A-4BB0E1415015}" srcOrd="0" destOrd="0" presId="urn:microsoft.com/office/officeart/2005/8/layout/chevron2"/>
    <dgm:cxn modelId="{FE80727A-5C12-4F87-9AED-FDF4ED34A654}" type="presParOf" srcId="{7FD583E2-0A6D-4E21-8B8F-56F6B6FF1064}" destId="{64A1A105-4E09-467C-8B09-B02326DE3F13}" srcOrd="1" destOrd="0" presId="urn:microsoft.com/office/officeart/2005/8/layout/chevron2"/>
    <dgm:cxn modelId="{AC22391D-1EF4-4645-A5C9-3F7C12F8FEFF}" type="presParOf" srcId="{8E23D605-A981-4BA1-8BFC-E6DFAC82F362}" destId="{E0291DF1-D6F5-40DD-A80A-7A92ECEEAAAA}" srcOrd="3" destOrd="0" presId="urn:microsoft.com/office/officeart/2005/8/layout/chevron2"/>
    <dgm:cxn modelId="{AC43B5E5-3126-4743-9FF3-E96357EB4979}" type="presParOf" srcId="{8E23D605-A981-4BA1-8BFC-E6DFAC82F362}" destId="{55C0562F-DFBA-4330-8C36-BA3E29136996}" srcOrd="4" destOrd="0" presId="urn:microsoft.com/office/officeart/2005/8/layout/chevron2"/>
    <dgm:cxn modelId="{F223E78B-24FE-433F-9664-1BA77424D304}" type="presParOf" srcId="{55C0562F-DFBA-4330-8C36-BA3E29136996}" destId="{B01F9871-3D02-4497-921F-B31E49F1FEA8}" srcOrd="0" destOrd="0" presId="urn:microsoft.com/office/officeart/2005/8/layout/chevron2"/>
    <dgm:cxn modelId="{55AE1517-B59A-4347-BDC8-0A9512C127E0}" type="presParOf" srcId="{55C0562F-DFBA-4330-8C36-BA3E29136996}" destId="{B0E842E4-4EA7-4C6F-8D19-E700B677B44E}" srcOrd="1" destOrd="0" presId="urn:microsoft.com/office/officeart/2005/8/layout/chevron2"/>
    <dgm:cxn modelId="{A65A9F0A-666E-4EFB-A28F-E7F001A31BCC}" type="presParOf" srcId="{8E23D605-A981-4BA1-8BFC-E6DFAC82F362}" destId="{DC6B6B18-0BD2-4E85-903C-0352941C10C1}" srcOrd="5" destOrd="0" presId="urn:microsoft.com/office/officeart/2005/8/layout/chevron2"/>
    <dgm:cxn modelId="{E52E5DFC-CE36-4F4A-9F30-A1EFACC87727}" type="presParOf" srcId="{8E23D605-A981-4BA1-8BFC-E6DFAC82F362}" destId="{E3DB69A8-257A-4EE3-987E-BED75400E4BD}" srcOrd="6" destOrd="0" presId="urn:microsoft.com/office/officeart/2005/8/layout/chevron2"/>
    <dgm:cxn modelId="{096DF9A0-BFD3-476B-9410-26DFC9C7BB68}" type="presParOf" srcId="{E3DB69A8-257A-4EE3-987E-BED75400E4BD}" destId="{BCC17760-6DD2-42D4-BB71-6C7ADCDAD164}" srcOrd="0" destOrd="0" presId="urn:microsoft.com/office/officeart/2005/8/layout/chevron2"/>
    <dgm:cxn modelId="{F67D0E91-57DE-4356-B11F-9CCF75390C06}" type="presParOf" srcId="{E3DB69A8-257A-4EE3-987E-BED75400E4BD}" destId="{07907A29-9002-406A-B414-5F04D293F042}" srcOrd="1" destOrd="0" presId="urn:microsoft.com/office/officeart/2005/8/layout/chevron2"/>
  </dgm:cxnLst>
  <dgm:bg/>
  <dgm:whole>
    <a:ln>
      <a:noFill/>
    </a:ln>
  </dgm:whole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F6B115C-5777-4A32-886B-2028216683BB}">
      <dsp:nvSpPr>
        <dsp:cNvPr id="0" name=""/>
        <dsp:cNvSpPr/>
      </dsp:nvSpPr>
      <dsp:spPr>
        <a:xfrm rot="5400000">
          <a:off x="-151715" y="153248"/>
          <a:ext cx="1011438" cy="708006"/>
        </a:xfrm>
        <a:prstGeom prst="chevron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ABH</a:t>
          </a:r>
        </a:p>
      </dsp:txBody>
      <dsp:txXfrm rot="-5400000">
        <a:off x="1" y="355535"/>
        <a:ext cx="708006" cy="303432"/>
      </dsp:txXfrm>
    </dsp:sp>
    <dsp:sp modelId="{D85D45CA-2267-4FD8-92EB-B2274B1BA379}">
      <dsp:nvSpPr>
        <dsp:cNvPr id="0" name=""/>
        <dsp:cNvSpPr/>
      </dsp:nvSpPr>
      <dsp:spPr>
        <a:xfrm rot="5400000">
          <a:off x="5497398" y="-4787858"/>
          <a:ext cx="657434" cy="10236218"/>
        </a:xfrm>
        <a:prstGeom prst="round2SameRect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Formlose Interessensbekundung an ozg-ve@hmdis.hessen.de</a:t>
          </a:r>
        </a:p>
      </dsp:txBody>
      <dsp:txXfrm rot="-5400000">
        <a:off x="708007" y="33626"/>
        <a:ext cx="10204125" cy="593248"/>
      </dsp:txXfrm>
    </dsp:sp>
    <dsp:sp modelId="{37981129-71EF-4221-AF8D-B6CB1C76CE25}">
      <dsp:nvSpPr>
        <dsp:cNvPr id="0" name=""/>
        <dsp:cNvSpPr/>
      </dsp:nvSpPr>
      <dsp:spPr>
        <a:xfrm rot="5400000">
          <a:off x="-151715" y="1046591"/>
          <a:ext cx="1011438" cy="708006"/>
        </a:xfrm>
        <a:prstGeom prst="chevron">
          <a:avLst/>
        </a:prstGeom>
        <a:solidFill>
          <a:srgbClr val="C6163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ekom21</a:t>
          </a:r>
        </a:p>
      </dsp:txBody>
      <dsp:txXfrm rot="-5400000">
        <a:off x="1" y="1248878"/>
        <a:ext cx="708006" cy="303432"/>
      </dsp:txXfrm>
    </dsp:sp>
    <dsp:sp modelId="{459C7383-0EA4-447B-A15D-E0B5A27955BC}">
      <dsp:nvSpPr>
        <dsp:cNvPr id="0" name=""/>
        <dsp:cNvSpPr/>
      </dsp:nvSpPr>
      <dsp:spPr>
        <a:xfrm rot="5400000">
          <a:off x="5496886" y="-3895068"/>
          <a:ext cx="657434" cy="10236218"/>
        </a:xfrm>
        <a:prstGeom prst="round2SameRect">
          <a:avLst/>
        </a:prstGeom>
        <a:solidFill>
          <a:srgbClr val="C6163B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Sendet erste Informationsmail (inkl. AVV, Testlink und weitere Informationen)</a:t>
          </a:r>
        </a:p>
      </dsp:txBody>
      <dsp:txXfrm rot="-5400000">
        <a:off x="707495" y="926416"/>
        <a:ext cx="10204125" cy="593248"/>
      </dsp:txXfrm>
    </dsp:sp>
    <dsp:sp modelId="{A94248A6-D2E8-485E-9E62-5C92ED0443B3}">
      <dsp:nvSpPr>
        <dsp:cNvPr id="0" name=""/>
        <dsp:cNvSpPr/>
      </dsp:nvSpPr>
      <dsp:spPr>
        <a:xfrm rot="5400000">
          <a:off x="-151715" y="1939934"/>
          <a:ext cx="1011438" cy="708006"/>
        </a:xfrm>
        <a:prstGeom prst="chevron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ABH</a:t>
          </a:r>
        </a:p>
      </dsp:txBody>
      <dsp:txXfrm rot="-5400000">
        <a:off x="1" y="2142221"/>
        <a:ext cx="708006" cy="303432"/>
      </dsp:txXfrm>
    </dsp:sp>
    <dsp:sp modelId="{39E074F9-76A1-4C59-B577-D282E44B99A8}">
      <dsp:nvSpPr>
        <dsp:cNvPr id="0" name=""/>
        <dsp:cNvSpPr/>
      </dsp:nvSpPr>
      <dsp:spPr>
        <a:xfrm rot="5400000">
          <a:off x="5496886" y="-3001173"/>
          <a:ext cx="657434" cy="10236218"/>
        </a:xfrm>
        <a:prstGeom prst="round2SameRect">
          <a:avLst/>
        </a:prstGeom>
        <a:solidFill>
          <a:srgbClr val="FFFFFF">
            <a:lumMod val="50000"/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Nicht-Mitglieder der ekom21 senden der ekom21 den unterschriebenen AVV zu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Mitglieder der ekom21 bekunden schriftlich ihr Interesse und nehmen den AVV zur Kenntnis</a:t>
          </a:r>
        </a:p>
      </dsp:txBody>
      <dsp:txXfrm rot="-5400000">
        <a:off x="707495" y="1820311"/>
        <a:ext cx="10204125" cy="593248"/>
      </dsp:txXfrm>
    </dsp:sp>
    <dsp:sp modelId="{B94844A5-C16C-44E2-B6E8-031F7984E5F9}">
      <dsp:nvSpPr>
        <dsp:cNvPr id="0" name=""/>
        <dsp:cNvSpPr/>
      </dsp:nvSpPr>
      <dsp:spPr>
        <a:xfrm rot="5400000">
          <a:off x="-151715" y="2833276"/>
          <a:ext cx="1011438" cy="708006"/>
        </a:xfrm>
        <a:prstGeom prst="chevron">
          <a:avLst/>
        </a:prstGeom>
        <a:solidFill>
          <a:srgbClr val="C6163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ekom21</a:t>
          </a:r>
        </a:p>
      </dsp:txBody>
      <dsp:txXfrm rot="-5400000">
        <a:off x="1" y="3035563"/>
        <a:ext cx="708006" cy="303432"/>
      </dsp:txXfrm>
    </dsp:sp>
    <dsp:sp modelId="{6C1DB4BC-CF26-4521-9D04-D443ED2FE1ED}">
      <dsp:nvSpPr>
        <dsp:cNvPr id="0" name=""/>
        <dsp:cNvSpPr/>
      </dsp:nvSpPr>
      <dsp:spPr>
        <a:xfrm rot="5400000">
          <a:off x="5497398" y="-2107830"/>
          <a:ext cx="657434" cy="10236218"/>
        </a:xfrm>
        <a:prstGeom prst="round2SameRect">
          <a:avLst/>
        </a:prstGeom>
        <a:solidFill>
          <a:srgbClr val="C6163B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Prüft AVV und Interessenbekundu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Versendet Checkliste (zur Mandatierung in civento, zur Einrichtung von </a:t>
          </a:r>
          <a:r>
            <a:rPr lang="de-DE" sz="1600" kern="1200" dirty="0" smtClean="0">
              <a:solidFill>
                <a:srgbClr val="FFFFFF"/>
              </a:solidFill>
              <a:latin typeface="Tahoma"/>
              <a:ea typeface="+mn-ea"/>
              <a:cs typeface="+mn-cs"/>
            </a:rPr>
            <a:t>ePayment</a:t>
          </a:r>
          <a:r>
            <a:rPr lang="de-DE" sz="16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, Datenschutzerklärung etc.)</a:t>
          </a:r>
        </a:p>
      </dsp:txBody>
      <dsp:txXfrm rot="-5400000">
        <a:off x="708007" y="2713654"/>
        <a:ext cx="10204125" cy="593248"/>
      </dsp:txXfrm>
    </dsp:sp>
    <dsp:sp modelId="{060616D5-3362-491E-AD71-9E27832684FB}">
      <dsp:nvSpPr>
        <dsp:cNvPr id="0" name=""/>
        <dsp:cNvSpPr/>
      </dsp:nvSpPr>
      <dsp:spPr>
        <a:xfrm rot="5400000">
          <a:off x="-151715" y="3726619"/>
          <a:ext cx="1011438" cy="708006"/>
        </a:xfrm>
        <a:prstGeom prst="chevron">
          <a:avLst/>
        </a:prstGeom>
        <a:solidFill>
          <a:srgbClr val="FFFFFF">
            <a:lumMod val="50000"/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525" tIns="9525" rIns="9525" bIns="9525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5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ABH</a:t>
          </a:r>
        </a:p>
      </dsp:txBody>
      <dsp:txXfrm rot="-5400000">
        <a:off x="1" y="3928906"/>
        <a:ext cx="708006" cy="303432"/>
      </dsp:txXfrm>
    </dsp:sp>
    <dsp:sp modelId="{B6797E1D-E46B-414C-9927-51CBE7756290}">
      <dsp:nvSpPr>
        <dsp:cNvPr id="0" name=""/>
        <dsp:cNvSpPr/>
      </dsp:nvSpPr>
      <dsp:spPr>
        <a:xfrm rot="5400000">
          <a:off x="5497398" y="-1214487"/>
          <a:ext cx="657434" cy="10236218"/>
        </a:xfrm>
        <a:prstGeom prst="round2SameRect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3792" tIns="10160" rIns="10160" bIns="10160" numCol="1" spcCol="1270" anchor="ctr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Sendet ausgefüllte Checkliste, Datenschutzerklärung und die zur Einrichtung relevanten Informationen an die ekom21</a:t>
          </a:r>
        </a:p>
      </dsp:txBody>
      <dsp:txXfrm rot="-5400000">
        <a:off x="708007" y="3606997"/>
        <a:ext cx="10204125" cy="59324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216B07E-FD98-4562-937C-528D26FDB935}">
      <dsp:nvSpPr>
        <dsp:cNvPr id="0" name=""/>
        <dsp:cNvSpPr/>
      </dsp:nvSpPr>
      <dsp:spPr>
        <a:xfrm rot="5400000">
          <a:off x="-183626" y="187353"/>
          <a:ext cx="1224178" cy="856924"/>
        </a:xfrm>
        <a:prstGeom prst="chevron">
          <a:avLst/>
        </a:prstGeom>
        <a:solidFill>
          <a:srgbClr val="C6163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ekom21</a:t>
          </a:r>
        </a:p>
      </dsp:txBody>
      <dsp:txXfrm rot="-5400000">
        <a:off x="1" y="432188"/>
        <a:ext cx="856924" cy="367254"/>
      </dsp:txXfrm>
    </dsp:sp>
    <dsp:sp modelId="{E02C400E-7D66-4EB5-B01F-DA30D86637D7}">
      <dsp:nvSpPr>
        <dsp:cNvPr id="0" name=""/>
        <dsp:cNvSpPr/>
      </dsp:nvSpPr>
      <dsp:spPr>
        <a:xfrm rot="5400000">
          <a:off x="5502212" y="-4642065"/>
          <a:ext cx="795715" cy="10087300"/>
        </a:xfrm>
        <a:prstGeom prst="round2SameRect">
          <a:avLst/>
        </a:prstGeom>
        <a:solidFill>
          <a:srgbClr val="C6163B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Mandatierung in civento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Versand des QS Links</a:t>
          </a:r>
        </a:p>
      </dsp:txBody>
      <dsp:txXfrm rot="-5400000">
        <a:off x="856420" y="42571"/>
        <a:ext cx="10048456" cy="718027"/>
      </dsp:txXfrm>
    </dsp:sp>
    <dsp:sp modelId="{318FE9E9-0D95-46F8-B69A-4BB0E1415015}">
      <dsp:nvSpPr>
        <dsp:cNvPr id="0" name=""/>
        <dsp:cNvSpPr/>
      </dsp:nvSpPr>
      <dsp:spPr>
        <a:xfrm rot="5400000">
          <a:off x="-183626" y="1268596"/>
          <a:ext cx="1224178" cy="856924"/>
        </a:xfrm>
        <a:prstGeom prst="chevron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ABH</a:t>
          </a:r>
        </a:p>
      </dsp:txBody>
      <dsp:txXfrm rot="-5400000">
        <a:off x="1" y="1513431"/>
        <a:ext cx="856924" cy="367254"/>
      </dsp:txXfrm>
    </dsp:sp>
    <dsp:sp modelId="{64A1A105-4E09-467C-8B09-B02326DE3F13}">
      <dsp:nvSpPr>
        <dsp:cNvPr id="0" name=""/>
        <dsp:cNvSpPr/>
      </dsp:nvSpPr>
      <dsp:spPr>
        <a:xfrm rot="5400000">
          <a:off x="5502716" y="-3560822"/>
          <a:ext cx="795715" cy="10087300"/>
        </a:xfrm>
        <a:prstGeom prst="round2SameRect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Testet die Mandatierung auf QS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Freigabe und Bestätigung</a:t>
          </a:r>
        </a:p>
      </dsp:txBody>
      <dsp:txXfrm rot="-5400000">
        <a:off x="856924" y="1123814"/>
        <a:ext cx="10048456" cy="718027"/>
      </dsp:txXfrm>
    </dsp:sp>
    <dsp:sp modelId="{B01F9871-3D02-4497-921F-B31E49F1FEA8}">
      <dsp:nvSpPr>
        <dsp:cNvPr id="0" name=""/>
        <dsp:cNvSpPr/>
      </dsp:nvSpPr>
      <dsp:spPr>
        <a:xfrm rot="5400000">
          <a:off x="-183626" y="2349839"/>
          <a:ext cx="1224178" cy="856924"/>
        </a:xfrm>
        <a:prstGeom prst="chevron">
          <a:avLst/>
        </a:prstGeom>
        <a:solidFill>
          <a:srgbClr val="C6163B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ekom21</a:t>
          </a:r>
        </a:p>
      </dsp:txBody>
      <dsp:txXfrm rot="-5400000">
        <a:off x="1" y="2594674"/>
        <a:ext cx="856924" cy="367254"/>
      </dsp:txXfrm>
    </dsp:sp>
    <dsp:sp modelId="{B0E842E4-4EA7-4C6F-8D19-E700B677B44E}">
      <dsp:nvSpPr>
        <dsp:cNvPr id="0" name=""/>
        <dsp:cNvSpPr/>
      </dsp:nvSpPr>
      <dsp:spPr>
        <a:xfrm rot="5400000">
          <a:off x="5502716" y="-2479579"/>
          <a:ext cx="795715" cy="10087300"/>
        </a:xfrm>
        <a:prstGeom prst="round2SameRect">
          <a:avLst/>
        </a:prstGeom>
        <a:solidFill>
          <a:srgbClr val="C6163B">
            <a:alpha val="9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Sendet den Produktiv-Link</a:t>
          </a:r>
        </a:p>
      </dsp:txBody>
      <dsp:txXfrm rot="-5400000">
        <a:off x="856924" y="2205057"/>
        <a:ext cx="10048456" cy="718027"/>
      </dsp:txXfrm>
    </dsp:sp>
    <dsp:sp modelId="{BCC17760-6DD2-42D4-BB71-6C7ADCDAD164}">
      <dsp:nvSpPr>
        <dsp:cNvPr id="0" name=""/>
        <dsp:cNvSpPr/>
      </dsp:nvSpPr>
      <dsp:spPr>
        <a:xfrm rot="5400000">
          <a:off x="-183626" y="3543597"/>
          <a:ext cx="1224178" cy="856924"/>
        </a:xfrm>
        <a:prstGeom prst="chevron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ABH</a:t>
          </a:r>
        </a:p>
      </dsp:txBody>
      <dsp:txXfrm rot="-5400000">
        <a:off x="1" y="3788432"/>
        <a:ext cx="856924" cy="367254"/>
      </dsp:txXfrm>
    </dsp:sp>
    <dsp:sp modelId="{07907A29-9002-406A-B414-5F04D293F042}">
      <dsp:nvSpPr>
        <dsp:cNvPr id="0" name=""/>
        <dsp:cNvSpPr/>
      </dsp:nvSpPr>
      <dsp:spPr>
        <a:xfrm rot="5400000">
          <a:off x="5390202" y="-1285821"/>
          <a:ext cx="1020744" cy="10087300"/>
        </a:xfrm>
        <a:prstGeom prst="round2SameRect">
          <a:avLst/>
        </a:prstGeom>
        <a:solidFill>
          <a:srgbClr val="555756">
            <a:lumMod val="60000"/>
            <a:lumOff val="40000"/>
          </a:srgb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9568" tIns="8890" rIns="8890" bIns="8890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Führt eine </a:t>
          </a:r>
          <a:r>
            <a:rPr lang="de-DE" sz="1400" kern="1200" dirty="0" smtClean="0">
              <a:solidFill>
                <a:srgbClr val="FFFFFF"/>
              </a:solidFill>
              <a:latin typeface="Tahoma"/>
              <a:ea typeface="+mn-ea"/>
              <a:cs typeface="+mn-cs"/>
            </a:rPr>
            <a:t>ePayment </a:t>
          </a:r>
          <a:r>
            <a:rPr lang="de-DE" sz="14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Testzahlung durch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b="1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</a:t>
          </a:r>
          <a:r>
            <a:rPr lang="de-DE" sz="1300" b="1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Achtung! Auf Produktion sind es echte Zahlungen, bitte diese immer mit der Kasse abstimmen</a:t>
          </a:r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Die Testzahlungen werden von den ABHs in Abstimmung mit ihrer Kasse ohne Beteiligung der ekom21 durchgeführ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400" kern="1200" dirty="0">
              <a:solidFill>
                <a:srgbClr val="FFFFFF"/>
              </a:solidFill>
              <a:latin typeface="Tahoma"/>
              <a:ea typeface="+mn-ea"/>
              <a:cs typeface="+mn-cs"/>
            </a:rPr>
            <a:t> Schaltet den Produktiv-Link auf ihrer Webseite frei</a:t>
          </a:r>
        </a:p>
      </dsp:txBody>
      <dsp:txXfrm rot="-5400000">
        <a:off x="856925" y="3297285"/>
        <a:ext cx="10037471" cy="92108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2">
  <dgm:title val=""/>
  <dgm:desc val=""/>
  <dgm:catLst>
    <dgm:cat type="process" pri="12000"/>
    <dgm:cat type="list" pri="16000"/>
    <dgm:cat type="convert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</dgm:ptLst>
      <dgm:cxnLst>
        <dgm:cxn modelId="4" srcId="0" destId="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linearFlow">
    <dgm:varLst>
      <dgm:dir/>
      <dgm:animLvl val="lvl"/>
      <dgm:resizeHandles val="exact"/>
    </dgm:varLst>
    <dgm:alg type="lin">
      <dgm:param type="linDir" val="fromT"/>
      <dgm:param type="nodeHorzAlign" val="l"/>
    </dgm:alg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h" for="des" forName="parentText" op="equ"/>
      <dgm:constr type="h" for="ch" forName="sp" val="-14.88"/>
      <dgm:constr type="h" for="ch" forName="sp" refType="w" refFor="des" refForName="parentText" op="gte" fact="-0.3"/>
      <dgm:constr type="primFontSz" for="des" forName="parentText" op="equ" val="65"/>
      <dgm:constr type="primFontSz" for="des" forName="descendantText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t" for="ch" forName="parentText"/>
              <dgm:constr type="l" for="ch" forName="parentText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 refType="w" refFor="ch" refForName="pare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if>
          <dgm:else name="Name3">
            <dgm:constrLst>
              <dgm:constr type="t" for="ch" forName="parentText"/>
              <dgm:constr type="r" for="ch" forName="parentText" refType="w"/>
              <dgm:constr type="w" for="ch" forName="parentText" refType="w" fact="0.4"/>
              <dgm:constr type="h" for="ch" forName="parentText" refType="h"/>
              <dgm:constr type="w" for="ch" forName="parentText" refType="w" op="lte" fact="0.5"/>
              <dgm:constr type="w" for="ch" forName="parentText" refType="h" refFor="ch" refForName="parentText" op="lte" fact="0.7"/>
              <dgm:constr type="h" for="ch" forName="parentText" refType="w" refFor="ch" refForName="parentText" op="lte" fact="3"/>
              <dgm:constr type="l" for="ch" forName="descendantText"/>
              <dgm:constr type="w" for="ch" forName="descendantText" refType="w"/>
              <dgm:constr type="wOff" for="ch" forName="descendantText" refType="w" refFor="ch" refForName="parentText" fact="-1"/>
              <dgm:constr type="t" for="ch" forName="descendantText"/>
              <dgm:constr type="b" for="ch" forName="descendantText" refType="h" refFor="ch" refForName="parentText"/>
              <dgm:constr type="bOff" for="ch" forName="descendantText" refType="w" refFor="ch" refForName="parentText" fact="-0.5"/>
            </dgm:constrLst>
          </dgm:else>
        </dgm:choose>
        <dgm:ruleLst/>
        <dgm:layoutNode name="parentText" styleLbl="alignNode1">
          <dgm:varLst>
            <dgm:chMax val="1"/>
            <dgm:bulletEnabled val="1"/>
          </dgm:varLst>
          <dgm:alg type="tx"/>
          <dgm:shape xmlns:r="http://schemas.openxmlformats.org/officeDocument/2006/relationships" rot="90" type="chevron" r:blip="">
            <dgm:adjLst/>
          </dgm:shape>
          <dgm:presOf axis="self" ptType="node"/>
          <dgm:constrLst>
            <dgm:constr type="lMarg" refType="primFontSz" fact="0.05"/>
            <dgm:constr type="rMarg" refType="primFontSz" fact="0.05"/>
            <dgm:constr type="tMarg" refType="primFontSz" fact="0.05"/>
            <dgm:constr type="bMarg" refType="primFontSz" fact="0.05"/>
          </dgm:constrLst>
          <dgm:ruleLst>
            <dgm:rule type="h" val="100" fact="NaN" max="NaN"/>
            <dgm:rule type="primFontSz" val="24" fact="NaN" max="NaN"/>
            <dgm:rule type="h" val="110" fact="NaN" max="NaN"/>
            <dgm:rule type="primFontSz" val="18" fact="NaN" max="NaN"/>
            <dgm:rule type="h" val="INF" fact="NaN" max="NaN"/>
            <dgm:rule type="primFontSz" val="5" fact="NaN" max="NaN"/>
          </dgm:ruleLst>
        </dgm:layoutNode>
        <dgm:layoutNode name="descendantText" styleLbl="alignAcc1">
          <dgm:varLst>
            <dgm:bulletEnabled val="1"/>
          </dgm:varLst>
          <dgm:choose name="Name4">
            <dgm:if name="Name5" func="var" arg="dir" op="equ" val="norm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90" type="round2SameRect" r:blip="">
                <dgm:adjLst/>
              </dgm:shape>
            </dgm:if>
            <dgm:else name="Name6"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rot="-90" type="round2SameRect" r:blip="">
                <dgm:adjLst/>
              </dgm:shape>
            </dgm:else>
          </dgm:choose>
          <dgm:presOf axis="des" ptType="node"/>
          <dgm:choose name="Name7">
            <dgm:if name="Name8" func="var" arg="dir" op="equ" val="norm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rMarg" refType="primFontSz" fact="0.05"/>
              </dgm:constrLst>
            </dgm:if>
            <dgm:else name="Name9">
              <dgm:constrLst>
                <dgm:constr type="secFontSz" refType="primFontSz"/>
                <dgm:constr type="tMarg" refType="primFontSz" fact="0.05"/>
                <dgm:constr type="bMarg" refType="primFontSz" fact="0.05"/>
                <dgm:constr type="lMarg" refType="primFontSz" fact="0.05"/>
              </dgm:constrLst>
            </dgm:else>
          </dgm:choose>
          <dgm:ruleLst>
            <dgm:rule type="primFontSz" val="5" fact="NaN" max="NaN"/>
          </dgm:ruleLst>
        </dgm:layoutNode>
      </dgm:layoutNode>
      <dgm:forEach name="Name10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>
            <dgm:constr type="w" val="1"/>
            <dgm:constr type="h" val="37.5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50133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400" b="0">
                <a:solidFill>
                  <a:srgbClr val="244894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296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157788" y="0"/>
            <a:ext cx="16986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rgbClr val="244894"/>
                </a:solidFill>
                <a:latin typeface="Arial" charset="0"/>
              </a:defRPr>
            </a:lvl1pPr>
          </a:lstStyle>
          <a:p>
            <a:pPr>
              <a:defRPr/>
            </a:pPr>
            <a:fld id="{87B29908-92CA-4E03-B5E7-0C22E22A48CA}" type="datetime1">
              <a:rPr lang="de-DE"/>
              <a:pPr>
                <a:defRPr/>
              </a:pPr>
              <a:t>11.09.2023</a:t>
            </a:fld>
            <a:endParaRPr lang="de-DE" dirty="0"/>
          </a:p>
        </p:txBody>
      </p:sp>
      <p:sp>
        <p:nvSpPr>
          <p:cNvPr id="297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373688" y="8685213"/>
            <a:ext cx="14827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400" b="0"/>
            </a:lvl1pPr>
          </a:lstStyle>
          <a:p>
            <a:r>
              <a:rPr lang="de-DE" altLang="de-DE" dirty="0"/>
              <a:t>Seite </a:t>
            </a:r>
            <a:fld id="{7CC49F68-9628-4D60-BA56-E5A52D2505D6}" type="slidenum">
              <a:rPr lang="de-DE" altLang="de-DE"/>
              <a:pPr/>
              <a:t>‹Nr.›</a:t>
            </a:fld>
            <a:endParaRPr lang="de-DE" altLang="de-DE" dirty="0"/>
          </a:p>
        </p:txBody>
      </p:sp>
      <p:sp>
        <p:nvSpPr>
          <p:cNvPr id="6" name="Text Box 16"/>
          <p:cNvSpPr txBox="1">
            <a:spLocks noChangeArrowheads="1"/>
          </p:cNvSpPr>
          <p:nvPr/>
        </p:nvSpPr>
        <p:spPr bwMode="auto">
          <a:xfrm>
            <a:off x="207963" y="8732838"/>
            <a:ext cx="37433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1200" dirty="0">
                <a:latin typeface="Arial" charset="0"/>
              </a:rPr>
              <a:t>Hessisches Ministerium des Innern und für Spor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522922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 b="0">
                <a:solidFill>
                  <a:srgbClr val="244894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5300663" y="0"/>
            <a:ext cx="1557337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solidFill>
                  <a:srgbClr val="244894"/>
                </a:solidFill>
                <a:latin typeface="Arial" charset="0"/>
              </a:defRPr>
            </a:lvl1pPr>
          </a:lstStyle>
          <a:p>
            <a:pPr>
              <a:defRPr/>
            </a:pPr>
            <a:fld id="{531F4D40-AF3C-447E-B123-508FFE6B4FB2}" type="datetime1">
              <a:rPr lang="de-DE"/>
              <a:pPr>
                <a:defRPr/>
              </a:pPr>
              <a:t>11.09.2023</a:t>
            </a:fld>
            <a:endParaRPr lang="de-DE" dirty="0"/>
          </a:p>
        </p:txBody>
      </p:sp>
      <p:sp>
        <p:nvSpPr>
          <p:cNvPr id="51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381000" y="685800"/>
            <a:ext cx="6096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4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4400" y="4343400"/>
            <a:ext cx="50292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noProof="0" smtClean="0"/>
              <a:t>Klicken Sie, um die Formate des Vorlagentextes zu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</a:p>
        </p:txBody>
      </p:sp>
      <p:sp>
        <p:nvSpPr>
          <p:cNvPr id="1434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229225" y="8686800"/>
            <a:ext cx="1628775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b="0"/>
            </a:lvl1pPr>
          </a:lstStyle>
          <a:p>
            <a:r>
              <a:rPr lang="de-DE" altLang="de-DE" dirty="0"/>
              <a:t>Seite </a:t>
            </a:r>
            <a:fld id="{B6B00C39-7E0B-4EE8-A339-CBA4528C220D}" type="slidenum">
              <a:rPr lang="de-DE" altLang="de-DE"/>
              <a:pPr/>
              <a:t>‹Nr.›</a:t>
            </a:fld>
            <a:endParaRPr lang="de-DE" altLang="de-DE" dirty="0"/>
          </a:p>
        </p:txBody>
      </p:sp>
      <p:sp>
        <p:nvSpPr>
          <p:cNvPr id="8" name="Text Box 16"/>
          <p:cNvSpPr txBox="1">
            <a:spLocks noChangeArrowheads="1"/>
          </p:cNvSpPr>
          <p:nvPr/>
        </p:nvSpPr>
        <p:spPr bwMode="auto">
          <a:xfrm>
            <a:off x="280988" y="8729663"/>
            <a:ext cx="3743325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1200" dirty="0">
                <a:latin typeface="Arial" charset="0"/>
              </a:rPr>
              <a:t>Hessisches Ministerium des Innern und für Spor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6147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z="1800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94577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ln/>
        </p:spPr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de-DE" altLang="de-DE" sz="1800" dirty="0" smtClean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4168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 dirty="0" err="1" smtClean="0"/>
              <a:t>Quellen</a:t>
            </a:r>
            <a:r>
              <a:rPr lang="it-IT" dirty="0" smtClean="0"/>
              <a:t>: </a:t>
            </a:r>
          </a:p>
          <a:p>
            <a:r>
              <a:rPr lang="it-IT" dirty="0" smtClean="0"/>
              <a:t>https://www.nuernberg.de/internet/auslaenderbehoerde/verpflichtungserklaerung.html </a:t>
            </a:r>
          </a:p>
          <a:p>
            <a:r>
              <a:rPr lang="it-IT" dirty="0" smtClean="0"/>
              <a:t>https://auslaenderbehoerde.org/verpflichtungserklaerung/ </a:t>
            </a:r>
          </a:p>
          <a:p>
            <a:endParaRPr lang="it-IT" dirty="0" smtClean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296972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E8A8B70-108F-48AE-A600-F36AADA0D0E4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srgbClr val="244894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srgbClr val="244894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081413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60771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ChangeArrowheads="1"/>
          </p:cNvSpPr>
          <p:nvPr/>
        </p:nvSpPr>
        <p:spPr bwMode="auto">
          <a:xfrm>
            <a:off x="391585" y="2679700"/>
            <a:ext cx="11804649" cy="4203700"/>
          </a:xfrm>
          <a:prstGeom prst="rect">
            <a:avLst/>
          </a:prstGeom>
          <a:solidFill>
            <a:srgbClr val="244894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 eaLnBrk="0" hangingPunct="0">
              <a:defRPr/>
            </a:pPr>
            <a:endParaRPr lang="de-DE" sz="4800" b="0" dirty="0">
              <a:latin typeface="Times" charset="0"/>
            </a:endParaRPr>
          </a:p>
        </p:txBody>
      </p:sp>
      <p:pic>
        <p:nvPicPr>
          <p:cNvPr id="5" name="Picture 8" descr="Streif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73063"/>
            <a:ext cx="387351" cy="259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feld 7"/>
          <p:cNvSpPr txBox="1"/>
          <p:nvPr/>
        </p:nvSpPr>
        <p:spPr>
          <a:xfrm>
            <a:off x="857251" y="6367464"/>
            <a:ext cx="5238749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eaLnBrk="0" hangingPunct="0">
              <a:defRPr/>
            </a:pPr>
            <a:r>
              <a:rPr lang="de-DE" sz="1200" b="0" dirty="0">
                <a:solidFill>
                  <a:schemeClr val="bg1"/>
                </a:solidFill>
                <a:latin typeface="+mn-lt"/>
              </a:rPr>
              <a:t>Wiesbaden, den </a:t>
            </a:r>
            <a:r>
              <a:rPr lang="de-DE" sz="1200" b="0" dirty="0" smtClean="0">
                <a:solidFill>
                  <a:schemeClr val="bg1"/>
                </a:solidFill>
                <a:latin typeface="+mn-lt"/>
              </a:rPr>
              <a:t>12. September</a:t>
            </a:r>
            <a:r>
              <a:rPr lang="de-DE" sz="1200" b="0" baseline="0" dirty="0" smtClean="0">
                <a:solidFill>
                  <a:schemeClr val="bg1"/>
                </a:solidFill>
                <a:latin typeface="+mn-lt"/>
              </a:rPr>
              <a:t> 2023</a:t>
            </a:r>
            <a:endParaRPr lang="de-DE" sz="1200" b="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9084" y="3122613"/>
            <a:ext cx="85344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de-DE" smtClean="0"/>
              <a:t>Formatvorlage des Untertitelmasters durch Klicken bearbeiten</a:t>
            </a:r>
            <a:endParaRPr lang="de-DE"/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223749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06796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483600" y="785795"/>
            <a:ext cx="2374933" cy="5259387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709085" y="836614"/>
            <a:ext cx="7571316" cy="5259387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7998606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Cambria"/>
                <a:cs typeface="Cambr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1/2023</a:t>
            </a:fld>
            <a:endParaRPr lang="en-US" dirty="0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8837074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200" b="0" i="0">
                <a:solidFill>
                  <a:schemeClr val="tx1"/>
                </a:solidFill>
                <a:latin typeface="Cambria"/>
                <a:cs typeface="Cambria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dirty="0"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1/2023</a:t>
            </a:fld>
            <a:endParaRPr lang="en-US" dirty="0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r.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4169944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 (Text mittig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53829EFC-C26C-42F2-B782-CBDC43D600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653" y="6438882"/>
            <a:ext cx="1028883" cy="200060"/>
          </a:xfrm>
          <a:prstGeom prst="rect">
            <a:avLst/>
          </a:prstGeom>
        </p:spPr>
      </p:pic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D551850A-0CF6-427E-9328-E276D7CA2B2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793304" y="3961634"/>
            <a:ext cx="7558909" cy="468000"/>
          </a:xfrm>
        </p:spPr>
        <p:txBody>
          <a:bodyPr tIns="90000" bIns="90000">
            <a:noAutofit/>
          </a:bodyPr>
          <a:lstStyle>
            <a:lvl1pPr marL="0" indent="0">
              <a:spcBef>
                <a:spcPts val="500"/>
              </a:spcBef>
              <a:buNone/>
              <a:defRPr sz="220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/>
              <a:t>Vortragsuntertitel</a:t>
            </a:r>
          </a:p>
        </p:txBody>
      </p:sp>
      <p:sp>
        <p:nvSpPr>
          <p:cNvPr id="11" name="Textplatzhalter 9">
            <a:extLst>
              <a:ext uri="{FF2B5EF4-FFF2-40B4-BE49-F238E27FC236}">
                <a16:creationId xmlns:a16="http://schemas.microsoft.com/office/drawing/2014/main" id="{E0274574-42B6-47E4-96AC-807CC69601A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93304" y="4810585"/>
            <a:ext cx="7558909" cy="324000"/>
          </a:xfrm>
        </p:spPr>
        <p:txBody>
          <a:bodyPr tIns="72000" bIns="90000">
            <a:no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Datum | </a:t>
            </a:r>
            <a:r>
              <a:rPr lang="de-DE" dirty="0" smtClean="0"/>
              <a:t>Veranstaltung | </a:t>
            </a:r>
            <a:r>
              <a:rPr lang="de-DE" dirty="0" err="1" smtClean="0"/>
              <a:t>Referent:in</a:t>
            </a:r>
            <a:endParaRPr lang="de-DE" dirty="0"/>
          </a:p>
        </p:txBody>
      </p:sp>
      <p:sp>
        <p:nvSpPr>
          <p:cNvPr id="12" name="Textplatzhalter 9">
            <a:extLst>
              <a:ext uri="{FF2B5EF4-FFF2-40B4-BE49-F238E27FC236}">
                <a16:creationId xmlns:a16="http://schemas.microsoft.com/office/drawing/2014/main" id="{97AEF9EF-1466-48F2-A502-F1DD0701336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93304" y="3407956"/>
            <a:ext cx="7558909" cy="540000"/>
          </a:xfrm>
        </p:spPr>
        <p:txBody>
          <a:bodyPr tIns="90000" bIns="90000">
            <a:noAutofit/>
          </a:bodyPr>
          <a:lstStyle>
            <a:lvl1pPr marL="0" indent="0">
              <a:spcBef>
                <a:spcPts val="500"/>
              </a:spcBef>
              <a:buNone/>
              <a:defRPr sz="30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de-DE" dirty="0" smtClean="0"/>
              <a:t>Vortrags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648747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halt Standard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448FAB1-63A6-4CBE-8C1A-B2016587FB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15796829-FD49-4B2A-9CC3-CDC3E22E7D0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de-DE"/>
              <a:t>Präsentationstitel</a:t>
            </a:r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0CF6E16-EDA3-45CD-B435-3D8E6D060B1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C179608-2924-465D-846B-5EFF747C05DC}" type="datetime1">
              <a:rPr lang="de-DE" smtClean="0"/>
              <a:t>11.09.2023</a:t>
            </a:fld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B794ED2-AD28-4277-BB7D-CF0F68E501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4A18DF9-8FF6-4BA5-BC52-5FB4772E2292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Textplatzhalter 13">
            <a:extLst>
              <a:ext uri="{FF2B5EF4-FFF2-40B4-BE49-F238E27FC236}">
                <a16:creationId xmlns:a16="http://schemas.microsoft.com/office/drawing/2014/main" id="{278B5872-F0D3-4AC2-A24B-697C7F3E95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3211" y="191947"/>
            <a:ext cx="1885131" cy="123111"/>
          </a:xfrm>
        </p:spPr>
        <p:txBody>
          <a:bodyPr wrap="none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7" name="Textplatzhalter 10">
            <a:extLst>
              <a:ext uri="{FF2B5EF4-FFF2-40B4-BE49-F238E27FC236}">
                <a16:creationId xmlns:a16="http://schemas.microsoft.com/office/drawing/2014/main" id="{2BCA9ED1-B4C0-44F9-89EE-30A783BCDB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93211" y="1089964"/>
            <a:ext cx="10808493" cy="252000"/>
          </a:xfrm>
        </p:spPr>
        <p:txBody>
          <a:bodyPr wrap="square">
            <a:spAutoFit/>
          </a:bodyPr>
          <a:lstStyle>
            <a:lvl1pPr marL="0" indent="0">
              <a:buNone/>
              <a:defRPr i="1"/>
            </a:lvl1pPr>
          </a:lstStyle>
          <a:p>
            <a:pPr lvl="0"/>
            <a:r>
              <a:rPr lang="de-DE" dirty="0"/>
              <a:t>Formatvorlagen des Textmasters bearbeiten</a:t>
            </a:r>
          </a:p>
        </p:txBody>
      </p:sp>
      <p:sp>
        <p:nvSpPr>
          <p:cNvPr id="9" name="Textplatzhalter 16">
            <a:extLst>
              <a:ext uri="{FF2B5EF4-FFF2-40B4-BE49-F238E27FC236}">
                <a16:creationId xmlns:a16="http://schemas.microsoft.com/office/drawing/2014/main" id="{969CBC91-B42C-47F6-995A-CA84E0ACFF8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3211" y="6454254"/>
            <a:ext cx="5044808" cy="246221"/>
          </a:xfrm>
        </p:spPr>
        <p:txBody>
          <a:bodyPr wrap="square" anchor="b" anchorCtr="0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8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Fußnote </a:t>
            </a:r>
          </a:p>
          <a:p>
            <a:pPr lvl="0"/>
            <a:r>
              <a:rPr lang="de-DE" dirty="0"/>
              <a:t>Quellenangabe</a:t>
            </a:r>
          </a:p>
        </p:txBody>
      </p:sp>
    </p:spTree>
    <p:extLst>
      <p:ext uri="{BB962C8B-B14F-4D97-AF65-F5344CB8AC3E}">
        <p14:creationId xmlns:p14="http://schemas.microsoft.com/office/powerpoint/2010/main" val="26675694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baseline="0">
                <a:solidFill>
                  <a:srgbClr val="244894"/>
                </a:solidFill>
              </a:defRPr>
            </a:lvl1pPr>
            <a:lvl2pPr>
              <a:defRPr baseline="0">
                <a:solidFill>
                  <a:srgbClr val="244894"/>
                </a:solidFill>
              </a:defRPr>
            </a:lvl2pPr>
            <a:lvl3pPr>
              <a:defRPr baseline="0">
                <a:solidFill>
                  <a:srgbClr val="244894"/>
                </a:solidFill>
              </a:defRPr>
            </a:lvl3pPr>
            <a:lvl4pPr>
              <a:defRPr baseline="0">
                <a:solidFill>
                  <a:srgbClr val="244894"/>
                </a:solidFill>
              </a:defRPr>
            </a:lvl4pPr>
            <a:lvl5pPr>
              <a:defRPr baseline="0">
                <a:solidFill>
                  <a:srgbClr val="244894"/>
                </a:solidFill>
              </a:defRPr>
            </a:lvl5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758037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/>
          <a:lstStyle>
            <a:lvl1pPr algn="l">
              <a:defRPr sz="3600" b="1" cap="all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 baseline="0">
                <a:solidFill>
                  <a:srgbClr val="244894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762998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709084" y="1982788"/>
            <a:ext cx="5080000" cy="411321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5992285" y="1982788"/>
            <a:ext cx="5082116" cy="4113212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46561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0" y="714356"/>
            <a:ext cx="10058432" cy="703282"/>
          </a:xfrm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36206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60481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2957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09601" y="785794"/>
            <a:ext cx="4011084" cy="649306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4952992" y="273051"/>
            <a:ext cx="5905541" cy="5853113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1760985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2389717" y="785794"/>
            <a:ext cx="7315200" cy="394178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de-DE" noProof="0" dirty="0" smtClean="0"/>
              <a:t>Bild durch Klicken auf Symbol hinzufügen</a:t>
            </a:r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7381491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753767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0" name="think-cell Folie" r:id="rId19" imgW="426" imgH="428" progId="TCLayout.ActiveDocument.1">
                  <p:embed/>
                </p:oleObj>
              </mc:Choice>
              <mc:Fallback>
                <p:oleObj name="think-cell Folie" r:id="rId19" imgW="426" imgH="4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7" descr="Streifen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373063"/>
            <a:ext cx="387351" cy="2590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Rectangle 8"/>
          <p:cNvSpPr>
            <a:spLocks noChangeArrowheads="1"/>
          </p:cNvSpPr>
          <p:nvPr/>
        </p:nvSpPr>
        <p:spPr bwMode="auto">
          <a:xfrm>
            <a:off x="8737600" y="6357938"/>
            <a:ext cx="30480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eaLnBrk="0" hangingPunct="0">
              <a:defRPr sz="1600" b="1">
                <a:solidFill>
                  <a:srgbClr val="244894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1600" b="1">
                <a:solidFill>
                  <a:srgbClr val="244894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1600" b="1">
                <a:solidFill>
                  <a:srgbClr val="244894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1600" b="1">
                <a:solidFill>
                  <a:srgbClr val="244894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1600" b="1">
                <a:solidFill>
                  <a:srgbClr val="244894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244894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244894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244894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rgbClr val="244894"/>
                </a:solidFill>
                <a:latin typeface="Arial" panose="020B0604020202020204" pitchFamily="34" charset="0"/>
              </a:defRPr>
            </a:lvl9pPr>
          </a:lstStyle>
          <a:p>
            <a:pPr algn="r"/>
            <a:fld id="{C796BD26-BE8E-41D9-8398-2E4ED0EE7530}" type="slidenum">
              <a:rPr lang="it-IT" altLang="de-DE" sz="1000" b="0">
                <a:solidFill>
                  <a:srgbClr val="3333CC"/>
                </a:solidFill>
              </a:rPr>
              <a:pPr algn="r"/>
              <a:t>‹Nr.›</a:t>
            </a:fld>
            <a:endParaRPr lang="it-IT" altLang="de-DE" sz="1000" b="0" dirty="0">
              <a:solidFill>
                <a:srgbClr val="3333CC"/>
              </a:solidFill>
            </a:endParaRPr>
          </a:p>
        </p:txBody>
      </p:sp>
      <p:sp>
        <p:nvSpPr>
          <p:cNvPr id="1029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719667" y="836613"/>
            <a:ext cx="9611784" cy="1008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itelmasterformat durch Klicken bearbeiten</a:t>
            </a:r>
          </a:p>
        </p:txBody>
      </p:sp>
      <p:sp>
        <p:nvSpPr>
          <p:cNvPr id="1030" name="Rectangle 14"/>
          <p:cNvSpPr>
            <a:spLocks noGrp="1" noChangeArrowheads="1"/>
          </p:cNvSpPr>
          <p:nvPr>
            <p:ph type="body" idx="1"/>
          </p:nvPr>
        </p:nvSpPr>
        <p:spPr bwMode="auto">
          <a:xfrm>
            <a:off x="709085" y="1982788"/>
            <a:ext cx="10365316" cy="4113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Textmasterformate durch Klicken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9" name="Text Box 16"/>
          <p:cNvSpPr txBox="1">
            <a:spLocks noChangeArrowheads="1"/>
          </p:cNvSpPr>
          <p:nvPr/>
        </p:nvSpPr>
        <p:spPr bwMode="auto">
          <a:xfrm>
            <a:off x="709085" y="293688"/>
            <a:ext cx="293702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1000" b="0" dirty="0">
                <a:latin typeface="Arial" charset="0"/>
              </a:rPr>
              <a:t>Hessisches Ministerium des Innern und für Sport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762001" y="6357938"/>
            <a:ext cx="2952751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/>
          <a:p>
            <a:pPr>
              <a:defRPr/>
            </a:pPr>
            <a:r>
              <a:rPr lang="de-DE" sz="1000" b="0" dirty="0" smtClean="0">
                <a:solidFill>
                  <a:srgbClr val="003399"/>
                </a:solidFill>
                <a:latin typeface="Arial" charset="0"/>
              </a:rPr>
              <a:t>Wiesbaden, den 12. September 2023</a:t>
            </a:r>
          </a:p>
          <a:p>
            <a:pPr>
              <a:defRPr/>
            </a:pPr>
            <a:endParaRPr lang="de-DE" sz="1000" b="0" dirty="0" smtClean="0">
              <a:solidFill>
                <a:srgbClr val="003399"/>
              </a:solidFill>
              <a:latin typeface="Arial" charset="0"/>
            </a:endParaRPr>
          </a:p>
          <a:p>
            <a:pPr>
              <a:defRPr/>
            </a:pPr>
            <a:endParaRPr lang="de-DE" sz="1000" b="0" dirty="0">
              <a:solidFill>
                <a:srgbClr val="003399"/>
              </a:solidFill>
              <a:latin typeface="Arial" charset="0"/>
            </a:endParaRPr>
          </a:p>
        </p:txBody>
      </p:sp>
      <p:pic>
        <p:nvPicPr>
          <p:cNvPr id="10" name="Inhaltsplatzhalter 5"/>
          <p:cNvPicPr>
            <a:picLocks noChangeAspect="1"/>
          </p:cNvPicPr>
          <p:nvPr userDrawn="1"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6898"/>
          <a:stretch/>
        </p:blipFill>
        <p:spPr bwMode="auto">
          <a:xfrm>
            <a:off x="9796134" y="283805"/>
            <a:ext cx="1989466" cy="80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01" r:id="rId1"/>
    <p:sldLayoutId id="2147483791" r:id="rId2"/>
    <p:sldLayoutId id="2147483792" r:id="rId3"/>
    <p:sldLayoutId id="2147483793" r:id="rId4"/>
    <p:sldLayoutId id="2147483794" r:id="rId5"/>
    <p:sldLayoutId id="2147483795" r:id="rId6"/>
    <p:sldLayoutId id="2147483796" r:id="rId7"/>
    <p:sldLayoutId id="2147483797" r:id="rId8"/>
    <p:sldLayoutId id="2147483798" r:id="rId9"/>
    <p:sldLayoutId id="2147483799" r:id="rId10"/>
    <p:sldLayoutId id="2147483800" r:id="rId11"/>
    <p:sldLayoutId id="2147483802" r:id="rId12"/>
    <p:sldLayoutId id="2147483803" r:id="rId13"/>
    <p:sldLayoutId id="2147483804" r:id="rId14"/>
    <p:sldLayoutId id="2147483805" r:id="rId1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44894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44894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44894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44894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44894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44894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44894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44894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244894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40000"/>
        </a:spcBef>
        <a:spcAft>
          <a:spcPct val="0"/>
        </a:spcAft>
        <a:buClr>
          <a:srgbClr val="244894"/>
        </a:buClr>
        <a:buFont typeface="Wingdings" panose="05000000000000000000" pitchFamily="2" charset="2"/>
        <a:buChar char="n"/>
        <a:defRPr sz="2000">
          <a:solidFill>
            <a:srgbClr val="244894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B2B2B2"/>
        </a:buClr>
        <a:buFont typeface="Wingdings" panose="05000000000000000000" pitchFamily="2" charset="2"/>
        <a:buChar char="n"/>
        <a:defRPr sz="1900">
          <a:solidFill>
            <a:srgbClr val="244894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244894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244894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244894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3333CC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3333CC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3333CC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600">
          <a:solidFill>
            <a:srgbClr val="3333CC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33.x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3" Type="http://schemas.openxmlformats.org/officeDocument/2006/relationships/tags" Target="../tags/tag28.xml"/><Relationship Id="rId21" Type="http://schemas.openxmlformats.org/officeDocument/2006/relationships/tags" Target="../tags/tag46.xml"/><Relationship Id="rId7" Type="http://schemas.openxmlformats.org/officeDocument/2006/relationships/tags" Target="../tags/tag3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image" Target="../media/image5.emf"/><Relationship Id="rId2" Type="http://schemas.openxmlformats.org/officeDocument/2006/relationships/tags" Target="../tags/tag27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vmlDrawing" Target="../drawings/vmlDrawing9.vml"/><Relationship Id="rId6" Type="http://schemas.openxmlformats.org/officeDocument/2006/relationships/tags" Target="../tags/tag31.xml"/><Relationship Id="rId11" Type="http://schemas.openxmlformats.org/officeDocument/2006/relationships/tags" Target="../tags/tag36.xml"/><Relationship Id="rId24" Type="http://schemas.openxmlformats.org/officeDocument/2006/relationships/oleObject" Target="../embeddings/oleObject9.bin"/><Relationship Id="rId5" Type="http://schemas.openxmlformats.org/officeDocument/2006/relationships/tags" Target="../tags/tag30.xml"/><Relationship Id="rId15" Type="http://schemas.openxmlformats.org/officeDocument/2006/relationships/tags" Target="../tags/tag40.xml"/><Relationship Id="rId23" Type="http://schemas.openxmlformats.org/officeDocument/2006/relationships/slideLayout" Target="../slideLayouts/slideLayout2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tags" Target="../tags/tag29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/Relationships>
</file>

<file path=ppt/slides/_rels/slide11.xml.rels><?xml version="1.0" encoding="UTF-8" standalone="yes"?>
<Relationships xmlns="http://schemas.openxmlformats.org/package/2006/relationships"><Relationship Id="rId13" Type="http://schemas.openxmlformats.org/officeDocument/2006/relationships/tags" Target="../tags/tag59.xml"/><Relationship Id="rId18" Type="http://schemas.openxmlformats.org/officeDocument/2006/relationships/tags" Target="../tags/tag64.xml"/><Relationship Id="rId26" Type="http://schemas.openxmlformats.org/officeDocument/2006/relationships/slideLayout" Target="../slideLayouts/slideLayout15.xml"/><Relationship Id="rId39" Type="http://schemas.openxmlformats.org/officeDocument/2006/relationships/chart" Target="../charts/chart10.xml"/><Relationship Id="rId21" Type="http://schemas.openxmlformats.org/officeDocument/2006/relationships/tags" Target="../tags/tag67.xml"/><Relationship Id="rId34" Type="http://schemas.openxmlformats.org/officeDocument/2006/relationships/chart" Target="../charts/chart5.xml"/><Relationship Id="rId42" Type="http://schemas.openxmlformats.org/officeDocument/2006/relationships/chart" Target="../charts/chart13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6" Type="http://schemas.openxmlformats.org/officeDocument/2006/relationships/tags" Target="../tags/tag62.xml"/><Relationship Id="rId20" Type="http://schemas.openxmlformats.org/officeDocument/2006/relationships/tags" Target="../tags/tag66.xml"/><Relationship Id="rId29" Type="http://schemas.openxmlformats.org/officeDocument/2006/relationships/image" Target="../media/image21.emf"/><Relationship Id="rId41" Type="http://schemas.openxmlformats.org/officeDocument/2006/relationships/chart" Target="../charts/chart12.xml"/><Relationship Id="rId1" Type="http://schemas.openxmlformats.org/officeDocument/2006/relationships/vmlDrawing" Target="../drawings/vmlDrawing10.vml"/><Relationship Id="rId6" Type="http://schemas.openxmlformats.org/officeDocument/2006/relationships/tags" Target="../tags/tag52.xml"/><Relationship Id="rId11" Type="http://schemas.openxmlformats.org/officeDocument/2006/relationships/tags" Target="../tags/tag57.xml"/><Relationship Id="rId24" Type="http://schemas.openxmlformats.org/officeDocument/2006/relationships/tags" Target="../tags/tag70.xml"/><Relationship Id="rId32" Type="http://schemas.openxmlformats.org/officeDocument/2006/relationships/chart" Target="../charts/chart3.xml"/><Relationship Id="rId37" Type="http://schemas.openxmlformats.org/officeDocument/2006/relationships/chart" Target="../charts/chart8.xml"/><Relationship Id="rId40" Type="http://schemas.openxmlformats.org/officeDocument/2006/relationships/chart" Target="../charts/chart11.xml"/><Relationship Id="rId5" Type="http://schemas.openxmlformats.org/officeDocument/2006/relationships/tags" Target="../tags/tag51.xml"/><Relationship Id="rId15" Type="http://schemas.openxmlformats.org/officeDocument/2006/relationships/tags" Target="../tags/tag61.xml"/><Relationship Id="rId23" Type="http://schemas.openxmlformats.org/officeDocument/2006/relationships/tags" Target="../tags/tag69.xml"/><Relationship Id="rId28" Type="http://schemas.openxmlformats.org/officeDocument/2006/relationships/oleObject" Target="../embeddings/oleObject10.bin"/><Relationship Id="rId36" Type="http://schemas.openxmlformats.org/officeDocument/2006/relationships/chart" Target="../charts/chart7.xml"/><Relationship Id="rId10" Type="http://schemas.openxmlformats.org/officeDocument/2006/relationships/tags" Target="../tags/tag56.xml"/><Relationship Id="rId19" Type="http://schemas.openxmlformats.org/officeDocument/2006/relationships/tags" Target="../tags/tag65.xml"/><Relationship Id="rId31" Type="http://schemas.openxmlformats.org/officeDocument/2006/relationships/chart" Target="../charts/chart2.xml"/><Relationship Id="rId44" Type="http://schemas.openxmlformats.org/officeDocument/2006/relationships/chart" Target="../charts/chart15.xml"/><Relationship Id="rId4" Type="http://schemas.openxmlformats.org/officeDocument/2006/relationships/tags" Target="../tags/tag50.xml"/><Relationship Id="rId9" Type="http://schemas.openxmlformats.org/officeDocument/2006/relationships/tags" Target="../tags/tag55.xml"/><Relationship Id="rId14" Type="http://schemas.openxmlformats.org/officeDocument/2006/relationships/tags" Target="../tags/tag60.xml"/><Relationship Id="rId22" Type="http://schemas.openxmlformats.org/officeDocument/2006/relationships/tags" Target="../tags/tag68.xml"/><Relationship Id="rId27" Type="http://schemas.openxmlformats.org/officeDocument/2006/relationships/notesSlide" Target="../notesSlides/notesSlide4.xml"/><Relationship Id="rId30" Type="http://schemas.openxmlformats.org/officeDocument/2006/relationships/chart" Target="../charts/chart1.xml"/><Relationship Id="rId35" Type="http://schemas.openxmlformats.org/officeDocument/2006/relationships/chart" Target="../charts/chart6.xml"/><Relationship Id="rId43" Type="http://schemas.openxmlformats.org/officeDocument/2006/relationships/chart" Target="../charts/chart14.xml"/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12" Type="http://schemas.openxmlformats.org/officeDocument/2006/relationships/tags" Target="../tags/tag58.xml"/><Relationship Id="rId17" Type="http://schemas.openxmlformats.org/officeDocument/2006/relationships/tags" Target="../tags/tag63.xml"/><Relationship Id="rId25" Type="http://schemas.openxmlformats.org/officeDocument/2006/relationships/tags" Target="../tags/tag71.xml"/><Relationship Id="rId33" Type="http://schemas.openxmlformats.org/officeDocument/2006/relationships/chart" Target="../charts/chart4.xml"/><Relationship Id="rId38" Type="http://schemas.openxmlformats.org/officeDocument/2006/relationships/chart" Target="../charts/chart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png"/><Relationship Id="rId3" Type="http://schemas.openxmlformats.org/officeDocument/2006/relationships/tags" Target="../tags/tag73.xml"/><Relationship Id="rId7" Type="http://schemas.openxmlformats.org/officeDocument/2006/relationships/image" Target="../media/image22.png"/><Relationship Id="rId12" Type="http://schemas.openxmlformats.org/officeDocument/2006/relationships/image" Target="../media/image27.png"/><Relationship Id="rId2" Type="http://schemas.openxmlformats.org/officeDocument/2006/relationships/tags" Target="../tags/tag7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11" Type="http://schemas.openxmlformats.org/officeDocument/2006/relationships/image" Target="../media/image26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25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4.png"/><Relationship Id="rId1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18" Type="http://schemas.openxmlformats.org/officeDocument/2006/relationships/image" Target="../media/image42.png"/><Relationship Id="rId26" Type="http://schemas.openxmlformats.org/officeDocument/2006/relationships/image" Target="../media/image50.png"/><Relationship Id="rId3" Type="http://schemas.openxmlformats.org/officeDocument/2006/relationships/slideLayout" Target="../slideLayouts/slideLayout13.xml"/><Relationship Id="rId21" Type="http://schemas.openxmlformats.org/officeDocument/2006/relationships/image" Target="../media/image45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17" Type="http://schemas.openxmlformats.org/officeDocument/2006/relationships/image" Target="../media/image41.png"/><Relationship Id="rId25" Type="http://schemas.openxmlformats.org/officeDocument/2006/relationships/image" Target="../media/image49.png"/><Relationship Id="rId2" Type="http://schemas.openxmlformats.org/officeDocument/2006/relationships/tags" Target="../tags/tag74.xml"/><Relationship Id="rId16" Type="http://schemas.openxmlformats.org/officeDocument/2006/relationships/image" Target="../media/image40.png"/><Relationship Id="rId20" Type="http://schemas.openxmlformats.org/officeDocument/2006/relationships/image" Target="../media/image44.png"/><Relationship Id="rId29" Type="http://schemas.openxmlformats.org/officeDocument/2006/relationships/image" Target="../media/image53.png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24" Type="http://schemas.openxmlformats.org/officeDocument/2006/relationships/image" Target="../media/image48.png"/><Relationship Id="rId5" Type="http://schemas.openxmlformats.org/officeDocument/2006/relationships/image" Target="../media/image1.emf"/><Relationship Id="rId15" Type="http://schemas.openxmlformats.org/officeDocument/2006/relationships/image" Target="../media/image39.png"/><Relationship Id="rId23" Type="http://schemas.openxmlformats.org/officeDocument/2006/relationships/image" Target="../media/image47.png"/><Relationship Id="rId28" Type="http://schemas.openxmlformats.org/officeDocument/2006/relationships/image" Target="../media/image52.png"/><Relationship Id="rId10" Type="http://schemas.openxmlformats.org/officeDocument/2006/relationships/image" Target="../media/image34.png"/><Relationship Id="rId19" Type="http://schemas.openxmlformats.org/officeDocument/2006/relationships/image" Target="../media/image43.png"/><Relationship Id="rId31" Type="http://schemas.openxmlformats.org/officeDocument/2006/relationships/image" Target="../media/image55.png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3.png"/><Relationship Id="rId14" Type="http://schemas.openxmlformats.org/officeDocument/2006/relationships/image" Target="../media/image38.png"/><Relationship Id="rId22" Type="http://schemas.openxmlformats.org/officeDocument/2006/relationships/image" Target="../media/image46.png"/><Relationship Id="rId27" Type="http://schemas.openxmlformats.org/officeDocument/2006/relationships/image" Target="../media/image51.png"/><Relationship Id="rId30" Type="http://schemas.openxmlformats.org/officeDocument/2006/relationships/image" Target="../media/image5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7.png"/><Relationship Id="rId12" Type="http://schemas.openxmlformats.org/officeDocument/2006/relationships/image" Target="../media/image62.jpg"/><Relationship Id="rId2" Type="http://schemas.openxmlformats.org/officeDocument/2006/relationships/tags" Target="../tags/tag7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56.png"/><Relationship Id="rId11" Type="http://schemas.openxmlformats.org/officeDocument/2006/relationships/image" Target="../media/image61.png"/><Relationship Id="rId5" Type="http://schemas.openxmlformats.org/officeDocument/2006/relationships/image" Target="../media/image1.emf"/><Relationship Id="rId15" Type="http://schemas.openxmlformats.org/officeDocument/2006/relationships/image" Target="../media/image65.png"/><Relationship Id="rId10" Type="http://schemas.openxmlformats.org/officeDocument/2006/relationships/image" Target="../media/image60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59.jpg"/><Relationship Id="rId14" Type="http://schemas.openxmlformats.org/officeDocument/2006/relationships/image" Target="../media/image64.jp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portal-civ-qs.ekom21.de/civ-brd-qs.public/start.html?oe=00.00.VE&amp;mode=cc&amp;cc_key=Verpflichtungserklaerung" TargetMode="External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9.png"/><Relationship Id="rId2" Type="http://schemas.openxmlformats.org/officeDocument/2006/relationships/tags" Target="../tags/tag7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6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1.xml"/><Relationship Id="rId38" Type="http://schemas.openxmlformats.org/officeDocument/2006/relationships/image" Target="../media/image5.svg"/><Relationship Id="rId2" Type="http://schemas.openxmlformats.org/officeDocument/2006/relationships/tags" Target="../tags/tag77.xml"/><Relationship Id="rId1" Type="http://schemas.openxmlformats.org/officeDocument/2006/relationships/vmlDrawing" Target="../drawings/vmlDrawing15.vml"/><Relationship Id="rId6" Type="http://schemas.openxmlformats.org/officeDocument/2006/relationships/diagramData" Target="../diagrams/data1.xml"/><Relationship Id="rId11" Type="http://schemas.openxmlformats.org/officeDocument/2006/relationships/image" Target="../media/image67.png"/><Relationship Id="rId5" Type="http://schemas.openxmlformats.org/officeDocument/2006/relationships/image" Target="../media/image5.emf"/><Relationship Id="rId10" Type="http://schemas.microsoft.com/office/2007/relationships/diagramDrawing" Target="../diagrams/drawing1.xml"/><Relationship Id="rId4" Type="http://schemas.openxmlformats.org/officeDocument/2006/relationships/oleObject" Target="../embeddings/oleObject15.bin"/><Relationship Id="rId9" Type="http://schemas.openxmlformats.org/officeDocument/2006/relationships/diagramColors" Target="../diagrams/colors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3" Type="http://schemas.openxmlformats.org/officeDocument/2006/relationships/slideLayout" Target="../slideLayouts/slideLayout2.xml"/><Relationship Id="rId7" Type="http://schemas.openxmlformats.org/officeDocument/2006/relationships/diagramLayout" Target="../diagrams/layout2.xml"/><Relationship Id="rId38" Type="http://schemas.openxmlformats.org/officeDocument/2006/relationships/image" Target="../media/image5.svg"/><Relationship Id="rId2" Type="http://schemas.openxmlformats.org/officeDocument/2006/relationships/tags" Target="../tags/tag78.xml"/><Relationship Id="rId1" Type="http://schemas.openxmlformats.org/officeDocument/2006/relationships/vmlDrawing" Target="../drawings/vmlDrawing16.vml"/><Relationship Id="rId6" Type="http://schemas.openxmlformats.org/officeDocument/2006/relationships/diagramData" Target="../diagrams/data2.xml"/><Relationship Id="rId11" Type="http://schemas.openxmlformats.org/officeDocument/2006/relationships/image" Target="../media/image67.png"/><Relationship Id="rId5" Type="http://schemas.openxmlformats.org/officeDocument/2006/relationships/image" Target="../media/image5.emf"/><Relationship Id="rId10" Type="http://schemas.microsoft.com/office/2007/relationships/diagramDrawing" Target="../diagrams/drawing2.xml"/><Relationship Id="rId4" Type="http://schemas.openxmlformats.org/officeDocument/2006/relationships/oleObject" Target="../embeddings/oleObject16.bin"/><Relationship Id="rId9" Type="http://schemas.openxmlformats.org/officeDocument/2006/relationships/diagramColors" Target="../diagrams/colors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8.png"/><Relationship Id="rId7" Type="http://schemas.openxmlformats.org/officeDocument/2006/relationships/hyperlink" Target="mailto:support-digitalisierung@ekom21.de" TargetMode="Externa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hyperlink" Target="mailto:verpflichtungserklaerung-support@ekom21.de" TargetMode="External"/><Relationship Id="rId5" Type="http://schemas.openxmlformats.org/officeDocument/2006/relationships/hyperlink" Target="mailto:ozg-ve@hmdis.hessen.de" TargetMode="External"/><Relationship Id="rId4" Type="http://schemas.openxmlformats.org/officeDocument/2006/relationships/image" Target="../media/image6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9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13" Type="http://schemas.openxmlformats.org/officeDocument/2006/relationships/image" Target="../media/image13.png"/><Relationship Id="rId3" Type="http://schemas.openxmlformats.org/officeDocument/2006/relationships/tags" Target="../tags/tag6.xml"/><Relationship Id="rId7" Type="http://schemas.openxmlformats.org/officeDocument/2006/relationships/slideLayout" Target="../slideLayouts/slideLayout12.xml"/><Relationship Id="rId12" Type="http://schemas.openxmlformats.org/officeDocument/2006/relationships/image" Target="../media/image12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1" Type="http://schemas.openxmlformats.org/officeDocument/2006/relationships/image" Target="../media/image11.png"/><Relationship Id="rId5" Type="http://schemas.openxmlformats.org/officeDocument/2006/relationships/tags" Target="../tags/tag8.xml"/><Relationship Id="rId15" Type="http://schemas.openxmlformats.org/officeDocument/2006/relationships/image" Target="../media/image15.png"/><Relationship Id="rId10" Type="http://schemas.openxmlformats.org/officeDocument/2006/relationships/image" Target="../media/image10.jpeg"/><Relationship Id="rId4" Type="http://schemas.openxmlformats.org/officeDocument/2006/relationships/tags" Target="../tags/tag7.xml"/><Relationship Id="rId9" Type="http://schemas.openxmlformats.org/officeDocument/2006/relationships/image" Target="../media/image1.emf"/><Relationship Id="rId1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1.xml"/><Relationship Id="rId7" Type="http://schemas.openxmlformats.org/officeDocument/2006/relationships/image" Target="../media/image1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9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hyperlink" Target="mailto:verpflichtungserklaerung-support@ekom21.de" TargetMode="External"/><Relationship Id="rId3" Type="http://schemas.openxmlformats.org/officeDocument/2006/relationships/tags" Target="../tags/tag14.xml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image" Target="../media/image5.emf"/><Relationship Id="rId2" Type="http://schemas.openxmlformats.org/officeDocument/2006/relationships/tags" Target="../tags/tag13.xml"/><Relationship Id="rId16" Type="http://schemas.openxmlformats.org/officeDocument/2006/relationships/oleObject" Target="../embeddings/oleObject7.bin"/><Relationship Id="rId20" Type="http://schemas.openxmlformats.org/officeDocument/2006/relationships/hyperlink" Target="mailto:OZG-EA@mik.brandenburg.de" TargetMode="External"/><Relationship Id="rId1" Type="http://schemas.openxmlformats.org/officeDocument/2006/relationships/vmlDrawing" Target="../drawings/vmlDrawing7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slideLayout" Target="../slideLayouts/slideLayout4.xml"/><Relationship Id="rId10" Type="http://schemas.openxmlformats.org/officeDocument/2006/relationships/tags" Target="../tags/tag21.xml"/><Relationship Id="rId19" Type="http://schemas.openxmlformats.org/officeDocument/2006/relationships/hyperlink" Target="mailto:ozg-ve@hmdis.hessen.de" TargetMode="External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6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676A90C7-CA0E-428C-84B5-26F77F0B080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r>
              <a:rPr lang="de-DE" dirty="0" smtClean="0"/>
              <a:t>12.09.2023</a:t>
            </a:r>
            <a:r>
              <a:rPr lang="de-DE" dirty="0" smtClean="0"/>
              <a:t>, Martin Jedrzejowski</a:t>
            </a:r>
            <a:endParaRPr lang="de-DE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CA7ACD0-ECD7-43BE-83BB-5AE88538307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r>
              <a:rPr lang="de-DE" dirty="0" smtClean="0"/>
              <a:t>Die FITKO stellt vor: Der </a:t>
            </a:r>
            <a:r>
              <a:rPr lang="de-DE" dirty="0" err="1" smtClean="0"/>
              <a:t>EfA</a:t>
            </a:r>
            <a:r>
              <a:rPr lang="de-DE" dirty="0" smtClean="0"/>
              <a:t>-Onlinedienst „Verpflichtungserklärung“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74762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2" name="think-cell Folie" r:id="rId24" imgW="360" imgH="360" progId="TCLayout.ActiveDocument.1">
                  <p:embed/>
                </p:oleObj>
              </mc:Choice>
              <mc:Fallback>
                <p:oleObj name="think-cell Folie" r:id="rId2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/>
          <p:cNvSpPr>
            <a:spLocks noGrp="1"/>
          </p:cNvSpPr>
          <p:nvPr>
            <p:ph idx="1"/>
          </p:nvPr>
        </p:nvSpPr>
        <p:spPr>
          <a:xfrm>
            <a:off x="719667" y="1988840"/>
            <a:ext cx="7021760" cy="2609313"/>
          </a:xfrm>
        </p:spPr>
        <p:txBody>
          <a:bodyPr/>
          <a:lstStyle/>
          <a:p>
            <a:r>
              <a:rPr lang="de-DE" sz="2100" dirty="0" smtClean="0"/>
              <a:t>Status Rollout</a:t>
            </a:r>
            <a:endParaRPr lang="de-DE" sz="2100" dirty="0"/>
          </a:p>
          <a:p>
            <a:pPr lvl="1"/>
            <a:r>
              <a:rPr lang="de-DE" sz="2000" dirty="0" smtClean="0"/>
              <a:t>31 </a:t>
            </a:r>
            <a:r>
              <a:rPr lang="de-DE" sz="2000" dirty="0"/>
              <a:t>Ausländerbehörden sind produktiv </a:t>
            </a:r>
            <a:endParaRPr lang="de-DE" sz="2000" dirty="0" smtClean="0"/>
          </a:p>
          <a:p>
            <a:pPr lvl="1"/>
            <a:endParaRPr lang="de-DE" sz="2000" dirty="0" smtClean="0">
              <a:solidFill>
                <a:srgbClr val="FF0000"/>
              </a:solidFill>
            </a:endParaRPr>
          </a:p>
          <a:p>
            <a:r>
              <a:rPr lang="de-DE" sz="2100" dirty="0" smtClean="0"/>
              <a:t>Status Abstimmungsverträge</a:t>
            </a:r>
            <a:endParaRPr lang="de-DE" sz="2000" dirty="0" smtClean="0">
              <a:solidFill>
                <a:srgbClr val="FF0000"/>
              </a:solidFill>
            </a:endParaRPr>
          </a:p>
          <a:p>
            <a:pPr lvl="1"/>
            <a:r>
              <a:rPr lang="de-DE" sz="2000" dirty="0" smtClean="0"/>
              <a:t>fünf finalisiert: Hamburg, Mecklenburg-Vorpommern, Brandenburg, Sachsen-Anhalt und Sachsen</a:t>
            </a:r>
            <a:endParaRPr lang="de-DE" sz="2000" dirty="0" smtClean="0">
              <a:solidFill>
                <a:srgbClr val="FF0000"/>
              </a:solidFill>
            </a:endParaRPr>
          </a:p>
          <a:p>
            <a:pPr>
              <a:buFont typeface="Wingdings" panose="05000000000000000000" pitchFamily="2" charset="2"/>
              <a:buChar char="§"/>
            </a:pPr>
            <a:endParaRPr lang="de-DE" sz="1100" b="1" dirty="0">
              <a:latin typeface="Arial" panose="020B0604020202020204" pitchFamily="34" charset="0"/>
            </a:endParaRPr>
          </a:p>
          <a:p>
            <a:endParaRPr lang="de-DE" sz="1100" b="1" dirty="0">
              <a:latin typeface="Arial" panose="020B0604020202020204" pitchFamily="34" charset="0"/>
            </a:endParaRP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smtClean="0"/>
              <a:t>Status Rollout und Abstimmungsschreiben </a:t>
            </a:r>
            <a:endParaRPr lang="de-DE" dirty="0"/>
          </a:p>
        </p:txBody>
      </p:sp>
      <p:grpSp>
        <p:nvGrpSpPr>
          <p:cNvPr id="26" name="easyMap_PLZ_DE">
            <a:extLst>
              <a:ext uri="{FF2B5EF4-FFF2-40B4-BE49-F238E27FC236}">
                <a16:creationId xmlns:a16="http://schemas.microsoft.com/office/drawing/2014/main" id="{47E14DFF-BE7F-44A8-BD03-BA10264E9D69}"/>
              </a:ext>
            </a:extLst>
          </p:cNvPr>
          <p:cNvGrpSpPr/>
          <p:nvPr>
            <p:custDataLst>
              <p:tags r:id="rId3"/>
            </p:custDataLst>
          </p:nvPr>
        </p:nvGrpSpPr>
        <p:grpSpPr>
          <a:xfrm>
            <a:off x="7741427" y="1369337"/>
            <a:ext cx="3280844" cy="4680522"/>
            <a:chOff x="5567317" y="1431131"/>
            <a:chExt cx="3559549" cy="4806192"/>
          </a:xfrm>
        </p:grpSpPr>
        <p:sp>
          <p:nvSpPr>
            <p:cNvPr id="27" name="_Map_Schleswig Holstein">
              <a:extLst>
                <a:ext uri="{FF2B5EF4-FFF2-40B4-BE49-F238E27FC236}">
                  <a16:creationId xmlns:a16="http://schemas.microsoft.com/office/drawing/2014/main" id="{0371708A-348F-4181-85D8-FF235FD2DD62}"/>
                </a:ext>
              </a:extLst>
            </p:cNvPr>
            <p:cNvSpPr/>
            <p:nvPr>
              <p:custDataLst>
                <p:tags r:id="rId5"/>
              </p:custDataLst>
            </p:nvPr>
          </p:nvSpPr>
          <p:spPr bwMode="gray">
            <a:xfrm>
              <a:off x="6514414" y="1431131"/>
              <a:ext cx="1144140" cy="1095596"/>
            </a:xfrm>
            <a:custGeom>
              <a:avLst/>
              <a:gdLst>
                <a:gd name="connsiteX0" fmla="*/ 61912 w 1144138"/>
                <a:gd name="connsiteY0" fmla="*/ 167954 h 1095594"/>
                <a:gd name="connsiteX1" fmla="*/ 123825 w 1144138"/>
                <a:gd name="connsiteY1" fmla="*/ 172717 h 1095594"/>
                <a:gd name="connsiteX2" fmla="*/ 83343 w 1144138"/>
                <a:gd name="connsiteY2" fmla="*/ 229867 h 1095594"/>
                <a:gd name="connsiteX3" fmla="*/ 42862 w 1144138"/>
                <a:gd name="connsiteY3" fmla="*/ 203673 h 1095594"/>
                <a:gd name="connsiteX4" fmla="*/ 209757 w 1144138"/>
                <a:gd name="connsiteY4" fmla="*/ 54181 h 1095594"/>
                <a:gd name="connsiteX5" fmla="*/ 362309 w 1144138"/>
                <a:gd name="connsiteY5" fmla="*/ 98676 h 1095594"/>
                <a:gd name="connsiteX6" fmla="*/ 406803 w 1144138"/>
                <a:gd name="connsiteY6" fmla="*/ 130457 h 1095594"/>
                <a:gd name="connsiteX7" fmla="*/ 508505 w 1144138"/>
                <a:gd name="connsiteY7" fmla="*/ 54181 h 1095594"/>
                <a:gd name="connsiteX8" fmla="*/ 533930 w 1144138"/>
                <a:gd name="connsiteY8" fmla="*/ 92319 h 1095594"/>
                <a:gd name="connsiteX9" fmla="*/ 603850 w 1144138"/>
                <a:gd name="connsiteY9" fmla="*/ 130457 h 1095594"/>
                <a:gd name="connsiteX10" fmla="*/ 680126 w 1144138"/>
                <a:gd name="connsiteY10" fmla="*/ 143170 h 1095594"/>
                <a:gd name="connsiteX11" fmla="*/ 629275 w 1144138"/>
                <a:gd name="connsiteY11" fmla="*/ 352929 h 1095594"/>
                <a:gd name="connsiteX12" fmla="*/ 737333 w 1144138"/>
                <a:gd name="connsiteY12" fmla="*/ 340217 h 1095594"/>
                <a:gd name="connsiteX13" fmla="*/ 737333 w 1144138"/>
                <a:gd name="connsiteY13" fmla="*/ 441918 h 1095594"/>
                <a:gd name="connsiteX14" fmla="*/ 781827 w 1144138"/>
                <a:gd name="connsiteY14" fmla="*/ 371998 h 1095594"/>
                <a:gd name="connsiteX15" fmla="*/ 870816 w 1144138"/>
                <a:gd name="connsiteY15" fmla="*/ 410136 h 1095594"/>
                <a:gd name="connsiteX16" fmla="*/ 985230 w 1144138"/>
                <a:gd name="connsiteY16" fmla="*/ 473700 h 1095594"/>
                <a:gd name="connsiteX17" fmla="*/ 1029724 w 1144138"/>
                <a:gd name="connsiteY17" fmla="*/ 422849 h 1095594"/>
                <a:gd name="connsiteX18" fmla="*/ 1080575 w 1144138"/>
                <a:gd name="connsiteY18" fmla="*/ 384711 h 1095594"/>
                <a:gd name="connsiteX19" fmla="*/ 1055149 w 1144138"/>
                <a:gd name="connsiteY19" fmla="*/ 365642 h 1095594"/>
                <a:gd name="connsiteX20" fmla="*/ 1067862 w 1144138"/>
                <a:gd name="connsiteY20" fmla="*/ 308435 h 1095594"/>
                <a:gd name="connsiteX21" fmla="*/ 1118713 w 1144138"/>
                <a:gd name="connsiteY21" fmla="*/ 321147 h 1095594"/>
                <a:gd name="connsiteX22" fmla="*/ 1144138 w 1144138"/>
                <a:gd name="connsiteY22" fmla="*/ 378354 h 1095594"/>
                <a:gd name="connsiteX23" fmla="*/ 1099644 w 1144138"/>
                <a:gd name="connsiteY23" fmla="*/ 416492 h 1095594"/>
                <a:gd name="connsiteX24" fmla="*/ 1086931 w 1144138"/>
                <a:gd name="connsiteY24" fmla="*/ 524551 h 1095594"/>
                <a:gd name="connsiteX25" fmla="*/ 966161 w 1144138"/>
                <a:gd name="connsiteY25" fmla="*/ 600826 h 1095594"/>
                <a:gd name="connsiteX26" fmla="*/ 934379 w 1144138"/>
                <a:gd name="connsiteY26" fmla="*/ 658034 h 1095594"/>
                <a:gd name="connsiteX27" fmla="*/ 997942 w 1144138"/>
                <a:gd name="connsiteY27" fmla="*/ 677103 h 1095594"/>
                <a:gd name="connsiteX28" fmla="*/ 1000736 w 1144138"/>
                <a:gd name="connsiteY28" fmla="*/ 677103 h 1095594"/>
                <a:gd name="connsiteX29" fmla="*/ 1009114 w 1144138"/>
                <a:gd name="connsiteY29" fmla="*/ 689071 h 1095594"/>
                <a:gd name="connsiteX30" fmla="*/ 1011687 w 1144138"/>
                <a:gd name="connsiteY30" fmla="*/ 722519 h 1095594"/>
                <a:gd name="connsiteX31" fmla="*/ 957656 w 1144138"/>
                <a:gd name="connsiteY31" fmla="*/ 773978 h 1095594"/>
                <a:gd name="connsiteX32" fmla="*/ 967947 w 1144138"/>
                <a:gd name="connsiteY32" fmla="*/ 851166 h 1095594"/>
                <a:gd name="connsiteX33" fmla="*/ 1024552 w 1144138"/>
                <a:gd name="connsiteY33" fmla="*/ 864031 h 1095594"/>
                <a:gd name="connsiteX34" fmla="*/ 1034843 w 1144138"/>
                <a:gd name="connsiteY34" fmla="*/ 892333 h 1095594"/>
                <a:gd name="connsiteX35" fmla="*/ 1016833 w 1144138"/>
                <a:gd name="connsiteY35" fmla="*/ 954083 h 1095594"/>
                <a:gd name="connsiteX36" fmla="*/ 985958 w 1144138"/>
                <a:gd name="connsiteY36" fmla="*/ 954083 h 1095594"/>
                <a:gd name="connsiteX37" fmla="*/ 985958 w 1144138"/>
                <a:gd name="connsiteY37" fmla="*/ 995250 h 1095594"/>
                <a:gd name="connsiteX38" fmla="*/ 911343 w 1144138"/>
                <a:gd name="connsiteY38" fmla="*/ 1031271 h 1095594"/>
                <a:gd name="connsiteX39" fmla="*/ 903624 w 1144138"/>
                <a:gd name="connsiteY39" fmla="*/ 1095594 h 1095594"/>
                <a:gd name="connsiteX40" fmla="*/ 787842 w 1144138"/>
                <a:gd name="connsiteY40" fmla="*/ 1059573 h 1095594"/>
                <a:gd name="connsiteX41" fmla="*/ 769824 w 1144138"/>
                <a:gd name="connsiteY41" fmla="*/ 1051038 h 1095594"/>
                <a:gd name="connsiteX42" fmla="*/ 789129 w 1144138"/>
                <a:gd name="connsiteY42" fmla="*/ 1036739 h 1095594"/>
                <a:gd name="connsiteX43" fmla="*/ 766937 w 1144138"/>
                <a:gd name="connsiteY43" fmla="*/ 1027090 h 1095594"/>
                <a:gd name="connsiteX44" fmla="*/ 744746 w 1144138"/>
                <a:gd name="connsiteY44" fmla="*/ 992355 h 1095594"/>
                <a:gd name="connsiteX45" fmla="*/ 729308 w 1144138"/>
                <a:gd name="connsiteY45" fmla="*/ 993320 h 1095594"/>
                <a:gd name="connsiteX46" fmla="*/ 722554 w 1144138"/>
                <a:gd name="connsiteY46" fmla="*/ 963410 h 1095594"/>
                <a:gd name="connsiteX47" fmla="*/ 713871 w 1144138"/>
                <a:gd name="connsiteY47" fmla="*/ 959551 h 1095594"/>
                <a:gd name="connsiteX48" fmla="*/ 721590 w 1144138"/>
                <a:gd name="connsiteY48" fmla="*/ 950867 h 1095594"/>
                <a:gd name="connsiteX49" fmla="*/ 737027 w 1144138"/>
                <a:gd name="connsiteY49" fmla="*/ 950867 h 1095594"/>
                <a:gd name="connsiteX50" fmla="*/ 749570 w 1144138"/>
                <a:gd name="connsiteY50" fmla="*/ 915167 h 1095594"/>
                <a:gd name="connsiteX51" fmla="*/ 737027 w 1144138"/>
                <a:gd name="connsiteY51" fmla="*/ 914203 h 1095594"/>
                <a:gd name="connsiteX52" fmla="*/ 739921 w 1144138"/>
                <a:gd name="connsiteY52" fmla="*/ 902624 h 1095594"/>
                <a:gd name="connsiteX53" fmla="*/ 717730 w 1144138"/>
                <a:gd name="connsiteY53" fmla="*/ 888152 h 1095594"/>
                <a:gd name="connsiteX54" fmla="*/ 738957 w 1144138"/>
                <a:gd name="connsiteY54" fmla="*/ 852452 h 1095594"/>
                <a:gd name="connsiteX55" fmla="*/ 731238 w 1144138"/>
                <a:gd name="connsiteY55" fmla="*/ 846663 h 1095594"/>
                <a:gd name="connsiteX56" fmla="*/ 710011 w 1144138"/>
                <a:gd name="connsiteY56" fmla="*/ 865960 h 1095594"/>
                <a:gd name="connsiteX57" fmla="*/ 691679 w 1144138"/>
                <a:gd name="connsiteY57" fmla="*/ 864995 h 1095594"/>
                <a:gd name="connsiteX58" fmla="*/ 682031 w 1144138"/>
                <a:gd name="connsiteY58" fmla="*/ 886222 h 1095594"/>
                <a:gd name="connsiteX59" fmla="*/ 658874 w 1144138"/>
                <a:gd name="connsiteY59" fmla="*/ 885257 h 1095594"/>
                <a:gd name="connsiteX60" fmla="*/ 655015 w 1144138"/>
                <a:gd name="connsiteY60" fmla="*/ 907449 h 1095594"/>
                <a:gd name="connsiteX61" fmla="*/ 627999 w 1144138"/>
                <a:gd name="connsiteY61" fmla="*/ 903589 h 1095594"/>
                <a:gd name="connsiteX62" fmla="*/ 594230 w 1144138"/>
                <a:gd name="connsiteY62" fmla="*/ 947972 h 1095594"/>
                <a:gd name="connsiteX63" fmla="*/ 571073 w 1144138"/>
                <a:gd name="connsiteY63" fmla="*/ 916133 h 1095594"/>
                <a:gd name="connsiteX64" fmla="*/ 558711 w 1144138"/>
                <a:gd name="connsiteY64" fmla="*/ 951038 h 1095594"/>
                <a:gd name="connsiteX65" fmla="*/ 494529 w 1144138"/>
                <a:gd name="connsiteY65" fmla="*/ 920635 h 1095594"/>
                <a:gd name="connsiteX66" fmla="*/ 429131 w 1144138"/>
                <a:gd name="connsiteY66" fmla="*/ 802416 h 1095594"/>
                <a:gd name="connsiteX67" fmla="*/ 376355 w 1144138"/>
                <a:gd name="connsiteY67" fmla="*/ 773525 h 1095594"/>
                <a:gd name="connsiteX68" fmla="*/ 368666 w 1144138"/>
                <a:gd name="connsiteY68" fmla="*/ 740666 h 1095594"/>
                <a:gd name="connsiteX69" fmla="*/ 266964 w 1144138"/>
                <a:gd name="connsiteY69" fmla="*/ 740666 h 1095594"/>
                <a:gd name="connsiteX70" fmla="*/ 203401 w 1144138"/>
                <a:gd name="connsiteY70" fmla="*/ 645321 h 1095594"/>
                <a:gd name="connsiteX71" fmla="*/ 260608 w 1144138"/>
                <a:gd name="connsiteY71" fmla="*/ 619896 h 1095594"/>
                <a:gd name="connsiteX72" fmla="*/ 171620 w 1144138"/>
                <a:gd name="connsiteY72" fmla="*/ 562688 h 1095594"/>
                <a:gd name="connsiteX73" fmla="*/ 203401 w 1144138"/>
                <a:gd name="connsiteY73" fmla="*/ 480056 h 1095594"/>
                <a:gd name="connsiteX74" fmla="*/ 127125 w 1144138"/>
                <a:gd name="connsiteY74" fmla="*/ 499125 h 1095594"/>
                <a:gd name="connsiteX75" fmla="*/ 108056 w 1144138"/>
                <a:gd name="connsiteY75" fmla="*/ 429205 h 1095594"/>
                <a:gd name="connsiteX76" fmla="*/ 241539 w 1144138"/>
                <a:gd name="connsiteY76" fmla="*/ 397424 h 1095594"/>
                <a:gd name="connsiteX77" fmla="*/ 260608 w 1144138"/>
                <a:gd name="connsiteY77" fmla="*/ 346573 h 1095594"/>
                <a:gd name="connsiteX78" fmla="*/ 197045 w 1144138"/>
                <a:gd name="connsiteY78" fmla="*/ 371998 h 1095594"/>
                <a:gd name="connsiteX79" fmla="*/ 235183 w 1144138"/>
                <a:gd name="connsiteY79" fmla="*/ 263940 h 1095594"/>
                <a:gd name="connsiteX80" fmla="*/ 171620 w 1144138"/>
                <a:gd name="connsiteY80" fmla="*/ 187664 h 1095594"/>
                <a:gd name="connsiteX81" fmla="*/ 127125 w 1144138"/>
                <a:gd name="connsiteY81" fmla="*/ 66894 h 1095594"/>
                <a:gd name="connsiteX82" fmla="*/ 30957 w 1144138"/>
                <a:gd name="connsiteY82" fmla="*/ 0 h 1095594"/>
                <a:gd name="connsiteX83" fmla="*/ 35719 w 1144138"/>
                <a:gd name="connsiteY83" fmla="*/ 59532 h 1095594"/>
                <a:gd name="connsiteX84" fmla="*/ 54769 w 1144138"/>
                <a:gd name="connsiteY84" fmla="*/ 80963 h 1095594"/>
                <a:gd name="connsiteX85" fmla="*/ 85725 w 1144138"/>
                <a:gd name="connsiteY85" fmla="*/ 76200 h 1095594"/>
                <a:gd name="connsiteX86" fmla="*/ 66675 w 1144138"/>
                <a:gd name="connsiteY86" fmla="*/ 109538 h 1095594"/>
                <a:gd name="connsiteX87" fmla="*/ 23813 w 1144138"/>
                <a:gd name="connsiteY87" fmla="*/ 95250 h 1095594"/>
                <a:gd name="connsiteX88" fmla="*/ 0 w 1144138"/>
                <a:gd name="connsiteY88" fmla="*/ 164307 h 1095594"/>
                <a:gd name="connsiteX89" fmla="*/ 0 w 1144138"/>
                <a:gd name="connsiteY89" fmla="*/ 71438 h 10955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</a:cxnLst>
              <a:rect l="l" t="t" r="r" b="b"/>
              <a:pathLst>
                <a:path w="1144138" h="1095594">
                  <a:moveTo>
                    <a:pt x="61912" y="167954"/>
                  </a:moveTo>
                  <a:lnTo>
                    <a:pt x="123825" y="172717"/>
                  </a:lnTo>
                  <a:cubicBezTo>
                    <a:pt x="110331" y="191767"/>
                    <a:pt x="115887" y="210817"/>
                    <a:pt x="83343" y="229867"/>
                  </a:cubicBezTo>
                  <a:lnTo>
                    <a:pt x="42862" y="203673"/>
                  </a:lnTo>
                  <a:close/>
                  <a:moveTo>
                    <a:pt x="209757" y="54181"/>
                  </a:moveTo>
                  <a:lnTo>
                    <a:pt x="362309" y="98676"/>
                  </a:lnTo>
                  <a:lnTo>
                    <a:pt x="406803" y="130457"/>
                  </a:lnTo>
                  <a:lnTo>
                    <a:pt x="508505" y="54181"/>
                  </a:lnTo>
                  <a:lnTo>
                    <a:pt x="533930" y="92319"/>
                  </a:lnTo>
                  <a:lnTo>
                    <a:pt x="603850" y="130457"/>
                  </a:lnTo>
                  <a:lnTo>
                    <a:pt x="680126" y="143170"/>
                  </a:lnTo>
                  <a:lnTo>
                    <a:pt x="629275" y="352929"/>
                  </a:lnTo>
                  <a:lnTo>
                    <a:pt x="737333" y="340217"/>
                  </a:lnTo>
                  <a:lnTo>
                    <a:pt x="737333" y="441918"/>
                  </a:lnTo>
                  <a:lnTo>
                    <a:pt x="781827" y="371998"/>
                  </a:lnTo>
                  <a:lnTo>
                    <a:pt x="870816" y="410136"/>
                  </a:lnTo>
                  <a:lnTo>
                    <a:pt x="985230" y="473700"/>
                  </a:lnTo>
                  <a:lnTo>
                    <a:pt x="1029724" y="422849"/>
                  </a:lnTo>
                  <a:lnTo>
                    <a:pt x="1080575" y="384711"/>
                  </a:lnTo>
                  <a:lnTo>
                    <a:pt x="1055149" y="365642"/>
                  </a:lnTo>
                  <a:lnTo>
                    <a:pt x="1067862" y="308435"/>
                  </a:lnTo>
                  <a:lnTo>
                    <a:pt x="1118713" y="321147"/>
                  </a:lnTo>
                  <a:lnTo>
                    <a:pt x="1144138" y="378354"/>
                  </a:lnTo>
                  <a:lnTo>
                    <a:pt x="1099644" y="416492"/>
                  </a:lnTo>
                  <a:lnTo>
                    <a:pt x="1086931" y="524551"/>
                  </a:lnTo>
                  <a:lnTo>
                    <a:pt x="966161" y="600826"/>
                  </a:lnTo>
                  <a:lnTo>
                    <a:pt x="934379" y="658034"/>
                  </a:lnTo>
                  <a:lnTo>
                    <a:pt x="997942" y="677103"/>
                  </a:lnTo>
                  <a:lnTo>
                    <a:pt x="1000736" y="677103"/>
                  </a:lnTo>
                  <a:lnTo>
                    <a:pt x="1009114" y="689071"/>
                  </a:lnTo>
                  <a:lnTo>
                    <a:pt x="1011687" y="722519"/>
                  </a:lnTo>
                  <a:lnTo>
                    <a:pt x="957656" y="773978"/>
                  </a:lnTo>
                  <a:lnTo>
                    <a:pt x="967947" y="851166"/>
                  </a:lnTo>
                  <a:lnTo>
                    <a:pt x="1024552" y="864031"/>
                  </a:lnTo>
                  <a:lnTo>
                    <a:pt x="1034843" y="892333"/>
                  </a:lnTo>
                  <a:lnTo>
                    <a:pt x="1016833" y="954083"/>
                  </a:lnTo>
                  <a:lnTo>
                    <a:pt x="985958" y="954083"/>
                  </a:lnTo>
                  <a:lnTo>
                    <a:pt x="985958" y="995250"/>
                  </a:lnTo>
                  <a:lnTo>
                    <a:pt x="911343" y="1031271"/>
                  </a:lnTo>
                  <a:lnTo>
                    <a:pt x="903624" y="1095594"/>
                  </a:lnTo>
                  <a:lnTo>
                    <a:pt x="787842" y="1059573"/>
                  </a:lnTo>
                  <a:lnTo>
                    <a:pt x="769824" y="1051038"/>
                  </a:lnTo>
                  <a:lnTo>
                    <a:pt x="789129" y="1036739"/>
                  </a:lnTo>
                  <a:lnTo>
                    <a:pt x="766937" y="1027090"/>
                  </a:lnTo>
                  <a:lnTo>
                    <a:pt x="744746" y="992355"/>
                  </a:lnTo>
                  <a:lnTo>
                    <a:pt x="729308" y="993320"/>
                  </a:lnTo>
                  <a:lnTo>
                    <a:pt x="722554" y="963410"/>
                  </a:lnTo>
                  <a:lnTo>
                    <a:pt x="713871" y="959551"/>
                  </a:lnTo>
                  <a:lnTo>
                    <a:pt x="721590" y="950867"/>
                  </a:lnTo>
                  <a:lnTo>
                    <a:pt x="737027" y="950867"/>
                  </a:lnTo>
                  <a:lnTo>
                    <a:pt x="749570" y="915167"/>
                  </a:lnTo>
                  <a:lnTo>
                    <a:pt x="737027" y="914203"/>
                  </a:lnTo>
                  <a:lnTo>
                    <a:pt x="739921" y="902624"/>
                  </a:lnTo>
                  <a:lnTo>
                    <a:pt x="717730" y="888152"/>
                  </a:lnTo>
                  <a:lnTo>
                    <a:pt x="738957" y="852452"/>
                  </a:lnTo>
                  <a:lnTo>
                    <a:pt x="731238" y="846663"/>
                  </a:lnTo>
                  <a:lnTo>
                    <a:pt x="710011" y="865960"/>
                  </a:lnTo>
                  <a:lnTo>
                    <a:pt x="691679" y="864995"/>
                  </a:lnTo>
                  <a:lnTo>
                    <a:pt x="682031" y="886222"/>
                  </a:lnTo>
                  <a:lnTo>
                    <a:pt x="658874" y="885257"/>
                  </a:lnTo>
                  <a:lnTo>
                    <a:pt x="655015" y="907449"/>
                  </a:lnTo>
                  <a:lnTo>
                    <a:pt x="627999" y="903589"/>
                  </a:lnTo>
                  <a:lnTo>
                    <a:pt x="594230" y="947972"/>
                  </a:lnTo>
                  <a:lnTo>
                    <a:pt x="571073" y="916133"/>
                  </a:lnTo>
                  <a:lnTo>
                    <a:pt x="558711" y="951038"/>
                  </a:lnTo>
                  <a:lnTo>
                    <a:pt x="494529" y="920635"/>
                  </a:lnTo>
                  <a:lnTo>
                    <a:pt x="429131" y="802416"/>
                  </a:lnTo>
                  <a:lnTo>
                    <a:pt x="376355" y="773525"/>
                  </a:lnTo>
                  <a:lnTo>
                    <a:pt x="368666" y="740666"/>
                  </a:lnTo>
                  <a:lnTo>
                    <a:pt x="266964" y="740666"/>
                  </a:lnTo>
                  <a:lnTo>
                    <a:pt x="203401" y="645321"/>
                  </a:lnTo>
                  <a:lnTo>
                    <a:pt x="260608" y="619896"/>
                  </a:lnTo>
                  <a:lnTo>
                    <a:pt x="171620" y="562688"/>
                  </a:lnTo>
                  <a:lnTo>
                    <a:pt x="203401" y="480056"/>
                  </a:lnTo>
                  <a:lnTo>
                    <a:pt x="127125" y="499125"/>
                  </a:lnTo>
                  <a:lnTo>
                    <a:pt x="108056" y="429205"/>
                  </a:lnTo>
                  <a:lnTo>
                    <a:pt x="241539" y="397424"/>
                  </a:lnTo>
                  <a:lnTo>
                    <a:pt x="260608" y="346573"/>
                  </a:lnTo>
                  <a:lnTo>
                    <a:pt x="197045" y="371998"/>
                  </a:lnTo>
                  <a:lnTo>
                    <a:pt x="235183" y="263940"/>
                  </a:lnTo>
                  <a:lnTo>
                    <a:pt x="171620" y="187664"/>
                  </a:lnTo>
                  <a:lnTo>
                    <a:pt x="127125" y="66894"/>
                  </a:lnTo>
                  <a:close/>
                  <a:moveTo>
                    <a:pt x="30957" y="0"/>
                  </a:moveTo>
                  <a:lnTo>
                    <a:pt x="35719" y="59532"/>
                  </a:lnTo>
                  <a:lnTo>
                    <a:pt x="54769" y="80963"/>
                  </a:lnTo>
                  <a:lnTo>
                    <a:pt x="85725" y="76200"/>
                  </a:lnTo>
                  <a:lnTo>
                    <a:pt x="66675" y="109538"/>
                  </a:lnTo>
                  <a:lnTo>
                    <a:pt x="23813" y="95250"/>
                  </a:lnTo>
                  <a:lnTo>
                    <a:pt x="0" y="164307"/>
                  </a:lnTo>
                  <a:lnTo>
                    <a:pt x="0" y="71438"/>
                  </a:lnTo>
                  <a:close/>
                </a:path>
              </a:pathLst>
            </a:custGeom>
            <a:solidFill>
              <a:schemeClr val="accent2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8" name="_Map_Hamburg">
              <a:extLst>
                <a:ext uri="{FF2B5EF4-FFF2-40B4-BE49-F238E27FC236}">
                  <a16:creationId xmlns:a16="http://schemas.microsoft.com/office/drawing/2014/main" id="{80A570AD-E0C6-4558-B2D1-85B78BA55157}"/>
                </a:ext>
              </a:extLst>
            </p:cNvPr>
            <p:cNvSpPr/>
            <p:nvPr>
              <p:custDataLst>
                <p:tags r:id="rId6"/>
              </p:custDataLst>
            </p:nvPr>
          </p:nvSpPr>
          <p:spPr bwMode="gray">
            <a:xfrm>
              <a:off x="7069085" y="2277797"/>
              <a:ext cx="234459" cy="225774"/>
            </a:xfrm>
            <a:custGeom>
              <a:avLst/>
              <a:gdLst>
                <a:gd name="connsiteX0" fmla="*/ 0 w 578644"/>
                <a:gd name="connsiteY0" fmla="*/ 285750 h 557212"/>
                <a:gd name="connsiteX1" fmla="*/ 40482 w 578644"/>
                <a:gd name="connsiteY1" fmla="*/ 171450 h 557212"/>
                <a:gd name="connsiteX2" fmla="*/ 97632 w 578644"/>
                <a:gd name="connsiteY2" fmla="*/ 250031 h 557212"/>
                <a:gd name="connsiteX3" fmla="*/ 180975 w 578644"/>
                <a:gd name="connsiteY3" fmla="*/ 140493 h 557212"/>
                <a:gd name="connsiteX4" fmla="*/ 247650 w 578644"/>
                <a:gd name="connsiteY4" fmla="*/ 150018 h 557212"/>
                <a:gd name="connsiteX5" fmla="*/ 257175 w 578644"/>
                <a:gd name="connsiteY5" fmla="*/ 95250 h 557212"/>
                <a:gd name="connsiteX6" fmla="*/ 314325 w 578644"/>
                <a:gd name="connsiteY6" fmla="*/ 97631 h 557212"/>
                <a:gd name="connsiteX7" fmla="*/ 338138 w 578644"/>
                <a:gd name="connsiteY7" fmla="*/ 45243 h 557212"/>
                <a:gd name="connsiteX8" fmla="*/ 383382 w 578644"/>
                <a:gd name="connsiteY8" fmla="*/ 47625 h 557212"/>
                <a:gd name="connsiteX9" fmla="*/ 435769 w 578644"/>
                <a:gd name="connsiteY9" fmla="*/ 0 h 557212"/>
                <a:gd name="connsiteX10" fmla="*/ 454819 w 578644"/>
                <a:gd name="connsiteY10" fmla="*/ 14287 h 557212"/>
                <a:gd name="connsiteX11" fmla="*/ 402432 w 578644"/>
                <a:gd name="connsiteY11" fmla="*/ 102393 h 557212"/>
                <a:gd name="connsiteX12" fmla="*/ 457200 w 578644"/>
                <a:gd name="connsiteY12" fmla="*/ 138112 h 557212"/>
                <a:gd name="connsiteX13" fmla="*/ 450057 w 578644"/>
                <a:gd name="connsiteY13" fmla="*/ 166687 h 557212"/>
                <a:gd name="connsiteX14" fmla="*/ 481013 w 578644"/>
                <a:gd name="connsiteY14" fmla="*/ 169068 h 557212"/>
                <a:gd name="connsiteX15" fmla="*/ 450057 w 578644"/>
                <a:gd name="connsiteY15" fmla="*/ 257175 h 557212"/>
                <a:gd name="connsiteX16" fmla="*/ 411957 w 578644"/>
                <a:gd name="connsiteY16" fmla="*/ 257175 h 557212"/>
                <a:gd name="connsiteX17" fmla="*/ 392907 w 578644"/>
                <a:gd name="connsiteY17" fmla="*/ 278606 h 557212"/>
                <a:gd name="connsiteX18" fmla="*/ 414338 w 578644"/>
                <a:gd name="connsiteY18" fmla="*/ 288131 h 557212"/>
                <a:gd name="connsiteX19" fmla="*/ 431007 w 578644"/>
                <a:gd name="connsiteY19" fmla="*/ 361950 h 557212"/>
                <a:gd name="connsiteX20" fmla="*/ 469107 w 578644"/>
                <a:gd name="connsiteY20" fmla="*/ 359568 h 557212"/>
                <a:gd name="connsiteX21" fmla="*/ 523875 w 578644"/>
                <a:gd name="connsiteY21" fmla="*/ 445293 h 557212"/>
                <a:gd name="connsiteX22" fmla="*/ 578644 w 578644"/>
                <a:gd name="connsiteY22" fmla="*/ 469106 h 557212"/>
                <a:gd name="connsiteX23" fmla="*/ 514350 w 578644"/>
                <a:gd name="connsiteY23" fmla="*/ 516731 h 557212"/>
                <a:gd name="connsiteX24" fmla="*/ 500063 w 578644"/>
                <a:gd name="connsiteY24" fmla="*/ 557212 h 557212"/>
                <a:gd name="connsiteX25" fmla="*/ 409575 w 578644"/>
                <a:gd name="connsiteY25" fmla="*/ 557212 h 557212"/>
                <a:gd name="connsiteX26" fmla="*/ 373857 w 578644"/>
                <a:gd name="connsiteY26" fmla="*/ 507206 h 557212"/>
                <a:gd name="connsiteX27" fmla="*/ 311944 w 578644"/>
                <a:gd name="connsiteY27" fmla="*/ 442912 h 557212"/>
                <a:gd name="connsiteX28" fmla="*/ 285750 w 578644"/>
                <a:gd name="connsiteY28" fmla="*/ 490537 h 557212"/>
                <a:gd name="connsiteX29" fmla="*/ 245269 w 578644"/>
                <a:gd name="connsiteY29" fmla="*/ 528637 h 557212"/>
                <a:gd name="connsiteX30" fmla="*/ 216694 w 578644"/>
                <a:gd name="connsiteY30" fmla="*/ 497681 h 557212"/>
                <a:gd name="connsiteX31" fmla="*/ 185738 w 578644"/>
                <a:gd name="connsiteY31" fmla="*/ 516731 h 557212"/>
                <a:gd name="connsiteX32" fmla="*/ 183357 w 578644"/>
                <a:gd name="connsiteY32" fmla="*/ 473868 h 557212"/>
                <a:gd name="connsiteX33" fmla="*/ 164307 w 578644"/>
                <a:gd name="connsiteY33" fmla="*/ 452437 h 557212"/>
                <a:gd name="connsiteX34" fmla="*/ 133350 w 578644"/>
                <a:gd name="connsiteY34" fmla="*/ 490537 h 557212"/>
                <a:gd name="connsiteX35" fmla="*/ 78582 w 578644"/>
                <a:gd name="connsiteY35" fmla="*/ 431006 h 557212"/>
                <a:gd name="connsiteX36" fmla="*/ 76200 w 578644"/>
                <a:gd name="connsiteY36" fmla="*/ 383381 h 557212"/>
                <a:gd name="connsiteX37" fmla="*/ 54769 w 578644"/>
                <a:gd name="connsiteY37" fmla="*/ 390525 h 557212"/>
                <a:gd name="connsiteX38" fmla="*/ 40482 w 578644"/>
                <a:gd name="connsiteY38" fmla="*/ 364331 h 557212"/>
                <a:gd name="connsiteX39" fmla="*/ 47625 w 578644"/>
                <a:gd name="connsiteY39" fmla="*/ 345281 h 557212"/>
                <a:gd name="connsiteX40" fmla="*/ 54769 w 578644"/>
                <a:gd name="connsiteY40" fmla="*/ 302418 h 557212"/>
                <a:gd name="connsiteX41" fmla="*/ 0 w 578644"/>
                <a:gd name="connsiteY41" fmla="*/ 285750 h 557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</a:cxnLst>
              <a:rect l="l" t="t" r="r" b="b"/>
              <a:pathLst>
                <a:path w="578644" h="557212">
                  <a:moveTo>
                    <a:pt x="0" y="285750"/>
                  </a:moveTo>
                  <a:lnTo>
                    <a:pt x="40482" y="171450"/>
                  </a:lnTo>
                  <a:lnTo>
                    <a:pt x="97632" y="250031"/>
                  </a:lnTo>
                  <a:lnTo>
                    <a:pt x="180975" y="140493"/>
                  </a:lnTo>
                  <a:lnTo>
                    <a:pt x="247650" y="150018"/>
                  </a:lnTo>
                  <a:lnTo>
                    <a:pt x="257175" y="95250"/>
                  </a:lnTo>
                  <a:lnTo>
                    <a:pt x="314325" y="97631"/>
                  </a:lnTo>
                  <a:lnTo>
                    <a:pt x="338138" y="45243"/>
                  </a:lnTo>
                  <a:lnTo>
                    <a:pt x="383382" y="47625"/>
                  </a:lnTo>
                  <a:lnTo>
                    <a:pt x="435769" y="0"/>
                  </a:lnTo>
                  <a:lnTo>
                    <a:pt x="454819" y="14287"/>
                  </a:lnTo>
                  <a:lnTo>
                    <a:pt x="402432" y="102393"/>
                  </a:lnTo>
                  <a:lnTo>
                    <a:pt x="457200" y="138112"/>
                  </a:lnTo>
                  <a:lnTo>
                    <a:pt x="450057" y="166687"/>
                  </a:lnTo>
                  <a:lnTo>
                    <a:pt x="481013" y="169068"/>
                  </a:lnTo>
                  <a:lnTo>
                    <a:pt x="450057" y="257175"/>
                  </a:lnTo>
                  <a:lnTo>
                    <a:pt x="411957" y="257175"/>
                  </a:lnTo>
                  <a:lnTo>
                    <a:pt x="392907" y="278606"/>
                  </a:lnTo>
                  <a:lnTo>
                    <a:pt x="414338" y="288131"/>
                  </a:lnTo>
                  <a:lnTo>
                    <a:pt x="431007" y="361950"/>
                  </a:lnTo>
                  <a:lnTo>
                    <a:pt x="469107" y="359568"/>
                  </a:lnTo>
                  <a:lnTo>
                    <a:pt x="523875" y="445293"/>
                  </a:lnTo>
                  <a:lnTo>
                    <a:pt x="578644" y="469106"/>
                  </a:lnTo>
                  <a:lnTo>
                    <a:pt x="514350" y="516731"/>
                  </a:lnTo>
                  <a:lnTo>
                    <a:pt x="500063" y="557212"/>
                  </a:lnTo>
                  <a:lnTo>
                    <a:pt x="409575" y="557212"/>
                  </a:lnTo>
                  <a:lnTo>
                    <a:pt x="373857" y="507206"/>
                  </a:lnTo>
                  <a:lnTo>
                    <a:pt x="311944" y="442912"/>
                  </a:lnTo>
                  <a:lnTo>
                    <a:pt x="285750" y="490537"/>
                  </a:lnTo>
                  <a:lnTo>
                    <a:pt x="245269" y="528637"/>
                  </a:lnTo>
                  <a:lnTo>
                    <a:pt x="216694" y="497681"/>
                  </a:lnTo>
                  <a:lnTo>
                    <a:pt x="185738" y="516731"/>
                  </a:lnTo>
                  <a:lnTo>
                    <a:pt x="183357" y="473868"/>
                  </a:lnTo>
                  <a:lnTo>
                    <a:pt x="164307" y="452437"/>
                  </a:lnTo>
                  <a:lnTo>
                    <a:pt x="133350" y="490537"/>
                  </a:lnTo>
                  <a:lnTo>
                    <a:pt x="78582" y="431006"/>
                  </a:lnTo>
                  <a:lnTo>
                    <a:pt x="76200" y="383381"/>
                  </a:lnTo>
                  <a:lnTo>
                    <a:pt x="54769" y="390525"/>
                  </a:lnTo>
                  <a:lnTo>
                    <a:pt x="40482" y="364331"/>
                  </a:lnTo>
                  <a:lnTo>
                    <a:pt x="47625" y="345281"/>
                  </a:lnTo>
                  <a:lnTo>
                    <a:pt x="54769" y="302418"/>
                  </a:lnTo>
                  <a:lnTo>
                    <a:pt x="0" y="285750"/>
                  </a:lnTo>
                  <a:close/>
                </a:path>
              </a:pathLst>
            </a:custGeom>
            <a:solidFill>
              <a:schemeClr val="bg2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29" name="_Map_Mecklemburg Vorpommern">
              <a:extLst>
                <a:ext uri="{FF2B5EF4-FFF2-40B4-BE49-F238E27FC236}">
                  <a16:creationId xmlns:a16="http://schemas.microsoft.com/office/drawing/2014/main" id="{62D6C1BB-0916-48CB-8E3A-FF33D20E0CA3}"/>
                </a:ext>
              </a:extLst>
            </p:cNvPr>
            <p:cNvSpPr/>
            <p:nvPr>
              <p:custDataLst>
                <p:tags r:id="rId7"/>
              </p:custDataLst>
            </p:nvPr>
          </p:nvSpPr>
          <p:spPr bwMode="gray">
            <a:xfrm>
              <a:off x="7323858" y="1652591"/>
              <a:ext cx="1593250" cy="1030575"/>
            </a:xfrm>
            <a:custGeom>
              <a:avLst/>
              <a:gdLst>
                <a:gd name="connsiteX0" fmla="*/ 0 w 1593248"/>
                <a:gd name="connsiteY0" fmla="*/ 844837 h 1030573"/>
                <a:gd name="connsiteX1" fmla="*/ 94181 w 1593248"/>
                <a:gd name="connsiteY1" fmla="*/ 874137 h 1030573"/>
                <a:gd name="connsiteX2" fmla="*/ 91741 w 1593248"/>
                <a:gd name="connsiteY2" fmla="*/ 873379 h 1030573"/>
                <a:gd name="connsiteX3" fmla="*/ 91286 w 1593248"/>
                <a:gd name="connsiteY3" fmla="*/ 873495 h 1030573"/>
                <a:gd name="connsiteX4" fmla="*/ 90969 w 1593248"/>
                <a:gd name="connsiteY4" fmla="*/ 873138 h 1030573"/>
                <a:gd name="connsiteX5" fmla="*/ 1431314 w 1593248"/>
                <a:gd name="connsiteY5" fmla="*/ 421481 h 1030573"/>
                <a:gd name="connsiteX6" fmla="*/ 1538470 w 1593248"/>
                <a:gd name="connsiteY6" fmla="*/ 500062 h 1030573"/>
                <a:gd name="connsiteX7" fmla="*/ 1488464 w 1593248"/>
                <a:gd name="connsiteY7" fmla="*/ 509587 h 1030573"/>
                <a:gd name="connsiteX8" fmla="*/ 1514657 w 1593248"/>
                <a:gd name="connsiteY8" fmla="*/ 554831 h 1030573"/>
                <a:gd name="connsiteX9" fmla="*/ 1397976 w 1593248"/>
                <a:gd name="connsiteY9" fmla="*/ 547687 h 1030573"/>
                <a:gd name="connsiteX10" fmla="*/ 1388451 w 1593248"/>
                <a:gd name="connsiteY10" fmla="*/ 471487 h 1030573"/>
                <a:gd name="connsiteX11" fmla="*/ 1428932 w 1593248"/>
                <a:gd name="connsiteY11" fmla="*/ 492918 h 1030573"/>
                <a:gd name="connsiteX12" fmla="*/ 1455126 w 1593248"/>
                <a:gd name="connsiteY12" fmla="*/ 483393 h 1030573"/>
                <a:gd name="connsiteX13" fmla="*/ 849558 w 1593248"/>
                <a:gd name="connsiteY13" fmla="*/ 112403 h 1030573"/>
                <a:gd name="connsiteX14" fmla="*/ 976684 w 1593248"/>
                <a:gd name="connsiteY14" fmla="*/ 156898 h 1030573"/>
                <a:gd name="connsiteX15" fmla="*/ 894052 w 1593248"/>
                <a:gd name="connsiteY15" fmla="*/ 175967 h 1030573"/>
                <a:gd name="connsiteX16" fmla="*/ 989397 w 1593248"/>
                <a:gd name="connsiteY16" fmla="*/ 188680 h 1030573"/>
                <a:gd name="connsiteX17" fmla="*/ 1052960 w 1593248"/>
                <a:gd name="connsiteY17" fmla="*/ 125116 h 1030573"/>
                <a:gd name="connsiteX18" fmla="*/ 1046604 w 1593248"/>
                <a:gd name="connsiteY18" fmla="*/ 245887 h 1030573"/>
                <a:gd name="connsiteX19" fmla="*/ 1097455 w 1593248"/>
                <a:gd name="connsiteY19" fmla="*/ 284025 h 1030573"/>
                <a:gd name="connsiteX20" fmla="*/ 1173730 w 1593248"/>
                <a:gd name="connsiteY20" fmla="*/ 309450 h 1030573"/>
                <a:gd name="connsiteX21" fmla="*/ 1218225 w 1593248"/>
                <a:gd name="connsiteY21" fmla="*/ 392082 h 1030573"/>
                <a:gd name="connsiteX22" fmla="*/ 1326282 w 1593248"/>
                <a:gd name="connsiteY22" fmla="*/ 309450 h 1030573"/>
                <a:gd name="connsiteX23" fmla="*/ 1415271 w 1593248"/>
                <a:gd name="connsiteY23" fmla="*/ 411151 h 1030573"/>
                <a:gd name="connsiteX24" fmla="*/ 1364420 w 1593248"/>
                <a:gd name="connsiteY24" fmla="*/ 449289 h 1030573"/>
                <a:gd name="connsiteX25" fmla="*/ 1364420 w 1593248"/>
                <a:gd name="connsiteY25" fmla="*/ 544634 h 1030573"/>
                <a:gd name="connsiteX26" fmla="*/ 1459765 w 1593248"/>
                <a:gd name="connsiteY26" fmla="*/ 620910 h 1030573"/>
                <a:gd name="connsiteX27" fmla="*/ 1523329 w 1593248"/>
                <a:gd name="connsiteY27" fmla="*/ 633623 h 1030573"/>
                <a:gd name="connsiteX28" fmla="*/ 1523329 w 1593248"/>
                <a:gd name="connsiteY28" fmla="*/ 722612 h 1030573"/>
                <a:gd name="connsiteX29" fmla="*/ 1567823 w 1593248"/>
                <a:gd name="connsiteY29" fmla="*/ 805244 h 1030573"/>
                <a:gd name="connsiteX30" fmla="*/ 1593248 w 1593248"/>
                <a:gd name="connsiteY30" fmla="*/ 824313 h 1030573"/>
                <a:gd name="connsiteX31" fmla="*/ 1591517 w 1593248"/>
                <a:gd name="connsiteY31" fmla="*/ 860661 h 1030573"/>
                <a:gd name="connsiteX32" fmla="*/ 1547483 w 1593248"/>
                <a:gd name="connsiteY32" fmla="*/ 889705 h 1030573"/>
                <a:gd name="connsiteX33" fmla="*/ 1524327 w 1593248"/>
                <a:gd name="connsiteY33" fmla="*/ 901283 h 1030573"/>
                <a:gd name="connsiteX34" fmla="*/ 1506959 w 1593248"/>
                <a:gd name="connsiteY34" fmla="*/ 924440 h 1030573"/>
                <a:gd name="connsiteX35" fmla="*/ 1485733 w 1593248"/>
                <a:gd name="connsiteY35" fmla="*/ 937948 h 1030573"/>
                <a:gd name="connsiteX36" fmla="*/ 1437490 w 1593248"/>
                <a:gd name="connsiteY36" fmla="*/ 934088 h 1030573"/>
                <a:gd name="connsiteX37" fmla="*/ 1487662 w 1593248"/>
                <a:gd name="connsiteY37" fmla="*/ 864619 h 1030573"/>
                <a:gd name="connsiteX38" fmla="*/ 1493451 w 1593248"/>
                <a:gd name="connsiteY38" fmla="*/ 827955 h 1030573"/>
                <a:gd name="connsiteX39" fmla="*/ 1447139 w 1593248"/>
                <a:gd name="connsiteY39" fmla="*/ 816377 h 1030573"/>
                <a:gd name="connsiteX40" fmla="*/ 1425912 w 1593248"/>
                <a:gd name="connsiteY40" fmla="*/ 833744 h 1030573"/>
                <a:gd name="connsiteX41" fmla="*/ 1368021 w 1593248"/>
                <a:gd name="connsiteY41" fmla="*/ 831814 h 1030573"/>
                <a:gd name="connsiteX42" fmla="*/ 1352583 w 1593248"/>
                <a:gd name="connsiteY42" fmla="*/ 785502 h 1030573"/>
                <a:gd name="connsiteX43" fmla="*/ 1337146 w 1593248"/>
                <a:gd name="connsiteY43" fmla="*/ 764275 h 1030573"/>
                <a:gd name="connsiteX44" fmla="*/ 1317849 w 1593248"/>
                <a:gd name="connsiteY44" fmla="*/ 743048 h 1030573"/>
                <a:gd name="connsiteX45" fmla="*/ 1325568 w 1593248"/>
                <a:gd name="connsiteY45" fmla="*/ 781642 h 1030573"/>
                <a:gd name="connsiteX46" fmla="*/ 1321708 w 1593248"/>
                <a:gd name="connsiteY46" fmla="*/ 800939 h 1030573"/>
                <a:gd name="connsiteX47" fmla="*/ 1296622 w 1593248"/>
                <a:gd name="connsiteY47" fmla="*/ 793220 h 1030573"/>
                <a:gd name="connsiteX48" fmla="*/ 1258028 w 1593248"/>
                <a:gd name="connsiteY48" fmla="*/ 837604 h 1030573"/>
                <a:gd name="connsiteX49" fmla="*/ 1225223 w 1593248"/>
                <a:gd name="connsiteY49" fmla="*/ 851111 h 1030573"/>
                <a:gd name="connsiteX50" fmla="*/ 1215575 w 1593248"/>
                <a:gd name="connsiteY50" fmla="*/ 893565 h 1030573"/>
                <a:gd name="connsiteX51" fmla="*/ 1165403 w 1593248"/>
                <a:gd name="connsiteY51" fmla="*/ 951455 h 1030573"/>
                <a:gd name="connsiteX52" fmla="*/ 1149965 w 1593248"/>
                <a:gd name="connsiteY52" fmla="*/ 928299 h 1030573"/>
                <a:gd name="connsiteX53" fmla="*/ 1124879 w 1593248"/>
                <a:gd name="connsiteY53" fmla="*/ 928299 h 1030573"/>
                <a:gd name="connsiteX54" fmla="*/ 1101723 w 1593248"/>
                <a:gd name="connsiteY54" fmla="*/ 966893 h 1030573"/>
                <a:gd name="connsiteX55" fmla="*/ 1082426 w 1593248"/>
                <a:gd name="connsiteY55" fmla="*/ 945667 h 1030573"/>
                <a:gd name="connsiteX56" fmla="*/ 1066988 w 1593248"/>
                <a:gd name="connsiteY56" fmla="*/ 949526 h 1030573"/>
                <a:gd name="connsiteX57" fmla="*/ 1009097 w 1593248"/>
                <a:gd name="connsiteY57" fmla="*/ 997768 h 1030573"/>
                <a:gd name="connsiteX58" fmla="*/ 987871 w 1593248"/>
                <a:gd name="connsiteY58" fmla="*/ 980401 h 1030573"/>
                <a:gd name="connsiteX59" fmla="*/ 922261 w 1593248"/>
                <a:gd name="connsiteY59" fmla="*/ 980401 h 1030573"/>
                <a:gd name="connsiteX60" fmla="*/ 887527 w 1593248"/>
                <a:gd name="connsiteY60" fmla="*/ 937948 h 1030573"/>
                <a:gd name="connsiteX61" fmla="*/ 862440 w 1593248"/>
                <a:gd name="connsiteY61" fmla="*/ 947596 h 1030573"/>
                <a:gd name="connsiteX62" fmla="*/ 802620 w 1593248"/>
                <a:gd name="connsiteY62" fmla="*/ 945667 h 1030573"/>
                <a:gd name="connsiteX63" fmla="*/ 781393 w 1593248"/>
                <a:gd name="connsiteY63" fmla="*/ 912862 h 1030573"/>
                <a:gd name="connsiteX64" fmla="*/ 708065 w 1593248"/>
                <a:gd name="connsiteY64" fmla="*/ 878127 h 1030573"/>
                <a:gd name="connsiteX65" fmla="*/ 648244 w 1593248"/>
                <a:gd name="connsiteY65" fmla="*/ 874268 h 1030573"/>
                <a:gd name="connsiteX66" fmla="*/ 615439 w 1593248"/>
                <a:gd name="connsiteY66" fmla="*/ 924440 h 1030573"/>
                <a:gd name="connsiteX67" fmla="*/ 520884 w 1593248"/>
                <a:gd name="connsiteY67" fmla="*/ 966893 h 1030573"/>
                <a:gd name="connsiteX68" fmla="*/ 505447 w 1593248"/>
                <a:gd name="connsiteY68" fmla="*/ 947596 h 1030573"/>
                <a:gd name="connsiteX69" fmla="*/ 453345 w 1593248"/>
                <a:gd name="connsiteY69" fmla="*/ 978471 h 1030573"/>
                <a:gd name="connsiteX70" fmla="*/ 445626 w 1593248"/>
                <a:gd name="connsiteY70" fmla="*/ 1024784 h 1030573"/>
                <a:gd name="connsiteX71" fmla="*/ 393524 w 1593248"/>
                <a:gd name="connsiteY71" fmla="*/ 1015136 h 1030573"/>
                <a:gd name="connsiteX72" fmla="*/ 393524 w 1593248"/>
                <a:gd name="connsiteY72" fmla="*/ 1030573 h 1030573"/>
                <a:gd name="connsiteX73" fmla="*/ 308618 w 1593248"/>
                <a:gd name="connsiteY73" fmla="*/ 1020924 h 1030573"/>
                <a:gd name="connsiteX74" fmla="*/ 307591 w 1593248"/>
                <a:gd name="connsiteY74" fmla="*/ 1022369 h 1030573"/>
                <a:gd name="connsiteX75" fmla="*/ 302588 w 1593248"/>
                <a:gd name="connsiteY75" fmla="*/ 987346 h 1030573"/>
                <a:gd name="connsiteX76" fmla="*/ 251129 w 1593248"/>
                <a:gd name="connsiteY76" fmla="*/ 941034 h 1030573"/>
                <a:gd name="connsiteX77" fmla="*/ 233119 w 1593248"/>
                <a:gd name="connsiteY77" fmla="*/ 887002 h 1030573"/>
                <a:gd name="connsiteX78" fmla="*/ 209962 w 1593248"/>
                <a:gd name="connsiteY78" fmla="*/ 881857 h 1030573"/>
                <a:gd name="connsiteX79" fmla="*/ 166223 w 1593248"/>
                <a:gd name="connsiteY79" fmla="*/ 912731 h 1030573"/>
                <a:gd name="connsiteX80" fmla="*/ 122804 w 1593248"/>
                <a:gd name="connsiteY80" fmla="*/ 865454 h 1030573"/>
                <a:gd name="connsiteX81" fmla="*/ 94352 w 1593248"/>
                <a:gd name="connsiteY81" fmla="*/ 872713 h 1030573"/>
                <a:gd name="connsiteX82" fmla="*/ 94181 w 1593248"/>
                <a:gd name="connsiteY82" fmla="*/ 874137 h 1030573"/>
                <a:gd name="connsiteX83" fmla="*/ 101899 w 1593248"/>
                <a:gd name="connsiteY83" fmla="*/ 809814 h 1030573"/>
                <a:gd name="connsiteX84" fmla="*/ 176514 w 1593248"/>
                <a:gd name="connsiteY84" fmla="*/ 773793 h 1030573"/>
                <a:gd name="connsiteX85" fmla="*/ 176514 w 1593248"/>
                <a:gd name="connsiteY85" fmla="*/ 732626 h 1030573"/>
                <a:gd name="connsiteX86" fmla="*/ 207390 w 1593248"/>
                <a:gd name="connsiteY86" fmla="*/ 732626 h 1030573"/>
                <a:gd name="connsiteX87" fmla="*/ 225400 w 1593248"/>
                <a:gd name="connsiteY87" fmla="*/ 670876 h 1030573"/>
                <a:gd name="connsiteX88" fmla="*/ 215108 w 1593248"/>
                <a:gd name="connsiteY88" fmla="*/ 642574 h 1030573"/>
                <a:gd name="connsiteX89" fmla="*/ 158504 w 1593248"/>
                <a:gd name="connsiteY89" fmla="*/ 629709 h 1030573"/>
                <a:gd name="connsiteX90" fmla="*/ 148212 w 1593248"/>
                <a:gd name="connsiteY90" fmla="*/ 552522 h 1030573"/>
                <a:gd name="connsiteX91" fmla="*/ 202244 w 1593248"/>
                <a:gd name="connsiteY91" fmla="*/ 501063 h 1030573"/>
                <a:gd name="connsiteX92" fmla="*/ 199671 w 1593248"/>
                <a:gd name="connsiteY92" fmla="*/ 467615 h 1030573"/>
                <a:gd name="connsiteX93" fmla="*/ 191292 w 1593248"/>
                <a:gd name="connsiteY93" fmla="*/ 455646 h 1030573"/>
                <a:gd name="connsiteX94" fmla="*/ 245706 w 1593248"/>
                <a:gd name="connsiteY94" fmla="*/ 455646 h 1030573"/>
                <a:gd name="connsiteX95" fmla="*/ 302913 w 1593248"/>
                <a:gd name="connsiteY95" fmla="*/ 442933 h 1030573"/>
                <a:gd name="connsiteX96" fmla="*/ 366476 w 1593248"/>
                <a:gd name="connsiteY96" fmla="*/ 500140 h 1030573"/>
                <a:gd name="connsiteX97" fmla="*/ 449109 w 1593248"/>
                <a:gd name="connsiteY97" fmla="*/ 481071 h 1030573"/>
                <a:gd name="connsiteX98" fmla="*/ 442752 w 1593248"/>
                <a:gd name="connsiteY98" fmla="*/ 392082 h 1030573"/>
                <a:gd name="connsiteX99" fmla="*/ 499959 w 1593248"/>
                <a:gd name="connsiteY99" fmla="*/ 334875 h 1030573"/>
                <a:gd name="connsiteX100" fmla="*/ 576235 w 1593248"/>
                <a:gd name="connsiteY100" fmla="*/ 353944 h 1030573"/>
                <a:gd name="connsiteX101" fmla="*/ 684293 w 1593248"/>
                <a:gd name="connsiteY101" fmla="*/ 315806 h 1030573"/>
                <a:gd name="connsiteX102" fmla="*/ 728787 w 1593248"/>
                <a:gd name="connsiteY102" fmla="*/ 245887 h 1030573"/>
                <a:gd name="connsiteX103" fmla="*/ 811420 w 1593248"/>
                <a:gd name="connsiteY103" fmla="*/ 252243 h 1030573"/>
                <a:gd name="connsiteX104" fmla="*/ 862270 w 1593248"/>
                <a:gd name="connsiteY104" fmla="*/ 195036 h 1030573"/>
                <a:gd name="connsiteX105" fmla="*/ 754213 w 1593248"/>
                <a:gd name="connsiteY105" fmla="*/ 239530 h 1030573"/>
                <a:gd name="connsiteX106" fmla="*/ 258419 w 1593248"/>
                <a:gd name="connsiteY106" fmla="*/ 86978 h 1030573"/>
                <a:gd name="connsiteX107" fmla="*/ 245706 w 1593248"/>
                <a:gd name="connsiteY107" fmla="*/ 144185 h 1030573"/>
                <a:gd name="connsiteX108" fmla="*/ 245706 w 1593248"/>
                <a:gd name="connsiteY108" fmla="*/ 144185 h 1030573"/>
                <a:gd name="connsiteX109" fmla="*/ 1209857 w 1593248"/>
                <a:gd name="connsiteY109" fmla="*/ 0 h 1030573"/>
                <a:gd name="connsiteX110" fmla="*/ 1181282 w 1593248"/>
                <a:gd name="connsiteY110" fmla="*/ 28575 h 1030573"/>
                <a:gd name="connsiteX111" fmla="*/ 1214620 w 1593248"/>
                <a:gd name="connsiteY111" fmla="*/ 54768 h 1030573"/>
                <a:gd name="connsiteX112" fmla="*/ 1300345 w 1593248"/>
                <a:gd name="connsiteY112" fmla="*/ 57150 h 1030573"/>
                <a:gd name="connsiteX113" fmla="*/ 1271770 w 1593248"/>
                <a:gd name="connsiteY113" fmla="*/ 126206 h 1030573"/>
                <a:gd name="connsiteX114" fmla="*/ 1286057 w 1593248"/>
                <a:gd name="connsiteY114" fmla="*/ 169068 h 1030573"/>
                <a:gd name="connsiteX115" fmla="*/ 1328920 w 1593248"/>
                <a:gd name="connsiteY115" fmla="*/ 238125 h 1030573"/>
                <a:gd name="connsiteX116" fmla="*/ 1240814 w 1593248"/>
                <a:gd name="connsiteY116" fmla="*/ 219075 h 1030573"/>
                <a:gd name="connsiteX117" fmla="*/ 1181282 w 1593248"/>
                <a:gd name="connsiteY117" fmla="*/ 290512 h 1030573"/>
                <a:gd name="connsiteX118" fmla="*/ 1140801 w 1593248"/>
                <a:gd name="connsiteY118" fmla="*/ 278606 h 1030573"/>
                <a:gd name="connsiteX119" fmla="*/ 1078889 w 1593248"/>
                <a:gd name="connsiteY119" fmla="*/ 216693 h 1030573"/>
                <a:gd name="connsiteX120" fmla="*/ 1133657 w 1593248"/>
                <a:gd name="connsiteY120" fmla="*/ 195262 h 1030573"/>
                <a:gd name="connsiteX121" fmla="*/ 1090795 w 1593248"/>
                <a:gd name="connsiteY121" fmla="*/ 104775 h 1030573"/>
                <a:gd name="connsiteX122" fmla="*/ 1116989 w 1593248"/>
                <a:gd name="connsiteY122" fmla="*/ 85725 h 1030573"/>
                <a:gd name="connsiteX123" fmla="*/ 1212239 w 1593248"/>
                <a:gd name="connsiteY123" fmla="*/ 130968 h 1030573"/>
                <a:gd name="connsiteX124" fmla="*/ 1202714 w 1593248"/>
                <a:gd name="connsiteY124" fmla="*/ 73818 h 1030573"/>
                <a:gd name="connsiteX125" fmla="*/ 1140801 w 1593248"/>
                <a:gd name="connsiteY125" fmla="*/ 85725 h 1030573"/>
                <a:gd name="connsiteX126" fmla="*/ 1131276 w 1593248"/>
                <a:gd name="connsiteY126" fmla="*/ 4762 h 103057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593248" h="1030573">
                  <a:moveTo>
                    <a:pt x="0" y="844837"/>
                  </a:moveTo>
                  <a:lnTo>
                    <a:pt x="94181" y="874137"/>
                  </a:lnTo>
                  <a:lnTo>
                    <a:pt x="91741" y="873379"/>
                  </a:lnTo>
                  <a:lnTo>
                    <a:pt x="91286" y="873495"/>
                  </a:lnTo>
                  <a:lnTo>
                    <a:pt x="90969" y="873138"/>
                  </a:lnTo>
                  <a:close/>
                  <a:moveTo>
                    <a:pt x="1431314" y="421481"/>
                  </a:moveTo>
                  <a:lnTo>
                    <a:pt x="1538470" y="500062"/>
                  </a:lnTo>
                  <a:lnTo>
                    <a:pt x="1488464" y="509587"/>
                  </a:lnTo>
                  <a:lnTo>
                    <a:pt x="1514657" y="554831"/>
                  </a:lnTo>
                  <a:lnTo>
                    <a:pt x="1397976" y="547687"/>
                  </a:lnTo>
                  <a:lnTo>
                    <a:pt x="1388451" y="471487"/>
                  </a:lnTo>
                  <a:cubicBezTo>
                    <a:pt x="1393610" y="462359"/>
                    <a:pt x="1417820" y="490934"/>
                    <a:pt x="1428932" y="492918"/>
                  </a:cubicBezTo>
                  <a:lnTo>
                    <a:pt x="1455126" y="483393"/>
                  </a:lnTo>
                  <a:close/>
                  <a:moveTo>
                    <a:pt x="849558" y="112403"/>
                  </a:moveTo>
                  <a:lnTo>
                    <a:pt x="976684" y="156898"/>
                  </a:lnTo>
                  <a:lnTo>
                    <a:pt x="894052" y="175967"/>
                  </a:lnTo>
                  <a:lnTo>
                    <a:pt x="989397" y="188680"/>
                  </a:lnTo>
                  <a:lnTo>
                    <a:pt x="1052960" y="125116"/>
                  </a:lnTo>
                  <a:lnTo>
                    <a:pt x="1046604" y="245887"/>
                  </a:lnTo>
                  <a:lnTo>
                    <a:pt x="1097455" y="284025"/>
                  </a:lnTo>
                  <a:lnTo>
                    <a:pt x="1173730" y="309450"/>
                  </a:lnTo>
                  <a:lnTo>
                    <a:pt x="1218225" y="392082"/>
                  </a:lnTo>
                  <a:lnTo>
                    <a:pt x="1326282" y="309450"/>
                  </a:lnTo>
                  <a:lnTo>
                    <a:pt x="1415271" y="411151"/>
                  </a:lnTo>
                  <a:lnTo>
                    <a:pt x="1364420" y="449289"/>
                  </a:lnTo>
                  <a:lnTo>
                    <a:pt x="1364420" y="544634"/>
                  </a:lnTo>
                  <a:lnTo>
                    <a:pt x="1459765" y="620910"/>
                  </a:lnTo>
                  <a:lnTo>
                    <a:pt x="1523329" y="633623"/>
                  </a:lnTo>
                  <a:lnTo>
                    <a:pt x="1523329" y="722612"/>
                  </a:lnTo>
                  <a:lnTo>
                    <a:pt x="1567823" y="805244"/>
                  </a:lnTo>
                  <a:lnTo>
                    <a:pt x="1593248" y="824313"/>
                  </a:lnTo>
                  <a:lnTo>
                    <a:pt x="1591517" y="860661"/>
                  </a:lnTo>
                  <a:lnTo>
                    <a:pt x="1547483" y="889705"/>
                  </a:lnTo>
                  <a:lnTo>
                    <a:pt x="1524327" y="901283"/>
                  </a:lnTo>
                  <a:lnTo>
                    <a:pt x="1506959" y="924440"/>
                  </a:lnTo>
                  <a:lnTo>
                    <a:pt x="1485733" y="937948"/>
                  </a:lnTo>
                  <a:lnTo>
                    <a:pt x="1437490" y="934088"/>
                  </a:lnTo>
                  <a:lnTo>
                    <a:pt x="1487662" y="864619"/>
                  </a:lnTo>
                  <a:lnTo>
                    <a:pt x="1493451" y="827955"/>
                  </a:lnTo>
                  <a:lnTo>
                    <a:pt x="1447139" y="816377"/>
                  </a:lnTo>
                  <a:lnTo>
                    <a:pt x="1425912" y="833744"/>
                  </a:lnTo>
                  <a:lnTo>
                    <a:pt x="1368021" y="831814"/>
                  </a:lnTo>
                  <a:lnTo>
                    <a:pt x="1352583" y="785502"/>
                  </a:lnTo>
                  <a:lnTo>
                    <a:pt x="1337146" y="764275"/>
                  </a:lnTo>
                  <a:lnTo>
                    <a:pt x="1317849" y="743048"/>
                  </a:lnTo>
                  <a:lnTo>
                    <a:pt x="1325568" y="781642"/>
                  </a:lnTo>
                  <a:lnTo>
                    <a:pt x="1321708" y="800939"/>
                  </a:lnTo>
                  <a:lnTo>
                    <a:pt x="1296622" y="793220"/>
                  </a:lnTo>
                  <a:lnTo>
                    <a:pt x="1258028" y="837604"/>
                  </a:lnTo>
                  <a:lnTo>
                    <a:pt x="1225223" y="851111"/>
                  </a:lnTo>
                  <a:lnTo>
                    <a:pt x="1215575" y="893565"/>
                  </a:lnTo>
                  <a:lnTo>
                    <a:pt x="1165403" y="951455"/>
                  </a:lnTo>
                  <a:lnTo>
                    <a:pt x="1149965" y="928299"/>
                  </a:lnTo>
                  <a:lnTo>
                    <a:pt x="1124879" y="928299"/>
                  </a:lnTo>
                  <a:lnTo>
                    <a:pt x="1101723" y="966893"/>
                  </a:lnTo>
                  <a:lnTo>
                    <a:pt x="1082426" y="945667"/>
                  </a:lnTo>
                  <a:lnTo>
                    <a:pt x="1066988" y="949526"/>
                  </a:lnTo>
                  <a:lnTo>
                    <a:pt x="1009097" y="997768"/>
                  </a:lnTo>
                  <a:lnTo>
                    <a:pt x="987871" y="980401"/>
                  </a:lnTo>
                  <a:lnTo>
                    <a:pt x="922261" y="980401"/>
                  </a:lnTo>
                  <a:lnTo>
                    <a:pt x="887527" y="937948"/>
                  </a:lnTo>
                  <a:lnTo>
                    <a:pt x="862440" y="947596"/>
                  </a:lnTo>
                  <a:lnTo>
                    <a:pt x="802620" y="945667"/>
                  </a:lnTo>
                  <a:lnTo>
                    <a:pt x="781393" y="912862"/>
                  </a:lnTo>
                  <a:lnTo>
                    <a:pt x="708065" y="878127"/>
                  </a:lnTo>
                  <a:lnTo>
                    <a:pt x="648244" y="874268"/>
                  </a:lnTo>
                  <a:lnTo>
                    <a:pt x="615439" y="924440"/>
                  </a:lnTo>
                  <a:lnTo>
                    <a:pt x="520884" y="966893"/>
                  </a:lnTo>
                  <a:lnTo>
                    <a:pt x="505447" y="947596"/>
                  </a:lnTo>
                  <a:lnTo>
                    <a:pt x="453345" y="978471"/>
                  </a:lnTo>
                  <a:lnTo>
                    <a:pt x="445626" y="1024784"/>
                  </a:lnTo>
                  <a:lnTo>
                    <a:pt x="393524" y="1015136"/>
                  </a:lnTo>
                  <a:lnTo>
                    <a:pt x="393524" y="1030573"/>
                  </a:lnTo>
                  <a:lnTo>
                    <a:pt x="308618" y="1020924"/>
                  </a:lnTo>
                  <a:lnTo>
                    <a:pt x="307591" y="1022369"/>
                  </a:lnTo>
                  <a:lnTo>
                    <a:pt x="302588" y="987346"/>
                  </a:lnTo>
                  <a:lnTo>
                    <a:pt x="251129" y="941034"/>
                  </a:lnTo>
                  <a:lnTo>
                    <a:pt x="233119" y="887002"/>
                  </a:lnTo>
                  <a:lnTo>
                    <a:pt x="209962" y="881857"/>
                  </a:lnTo>
                  <a:lnTo>
                    <a:pt x="166223" y="912731"/>
                  </a:lnTo>
                  <a:lnTo>
                    <a:pt x="122804" y="865454"/>
                  </a:lnTo>
                  <a:lnTo>
                    <a:pt x="94352" y="872713"/>
                  </a:lnTo>
                  <a:cubicBezTo>
                    <a:pt x="94295" y="873187"/>
                    <a:pt x="94238" y="873662"/>
                    <a:pt x="94181" y="874137"/>
                  </a:cubicBezTo>
                  <a:lnTo>
                    <a:pt x="101899" y="809814"/>
                  </a:lnTo>
                  <a:lnTo>
                    <a:pt x="176514" y="773793"/>
                  </a:lnTo>
                  <a:lnTo>
                    <a:pt x="176514" y="732626"/>
                  </a:lnTo>
                  <a:lnTo>
                    <a:pt x="207390" y="732626"/>
                  </a:lnTo>
                  <a:lnTo>
                    <a:pt x="225400" y="670876"/>
                  </a:lnTo>
                  <a:lnTo>
                    <a:pt x="215108" y="642574"/>
                  </a:lnTo>
                  <a:lnTo>
                    <a:pt x="158504" y="629709"/>
                  </a:lnTo>
                  <a:lnTo>
                    <a:pt x="148212" y="552522"/>
                  </a:lnTo>
                  <a:lnTo>
                    <a:pt x="202244" y="501063"/>
                  </a:lnTo>
                  <a:lnTo>
                    <a:pt x="199671" y="467615"/>
                  </a:lnTo>
                  <a:lnTo>
                    <a:pt x="191292" y="455646"/>
                  </a:lnTo>
                  <a:lnTo>
                    <a:pt x="245706" y="455646"/>
                  </a:lnTo>
                  <a:lnTo>
                    <a:pt x="302913" y="442933"/>
                  </a:lnTo>
                  <a:lnTo>
                    <a:pt x="366476" y="500140"/>
                  </a:lnTo>
                  <a:lnTo>
                    <a:pt x="449109" y="481071"/>
                  </a:lnTo>
                  <a:lnTo>
                    <a:pt x="442752" y="392082"/>
                  </a:lnTo>
                  <a:lnTo>
                    <a:pt x="499959" y="334875"/>
                  </a:lnTo>
                  <a:lnTo>
                    <a:pt x="576235" y="353944"/>
                  </a:lnTo>
                  <a:lnTo>
                    <a:pt x="684293" y="315806"/>
                  </a:lnTo>
                  <a:lnTo>
                    <a:pt x="728787" y="245887"/>
                  </a:lnTo>
                  <a:lnTo>
                    <a:pt x="811420" y="252243"/>
                  </a:lnTo>
                  <a:lnTo>
                    <a:pt x="862270" y="195036"/>
                  </a:lnTo>
                  <a:lnTo>
                    <a:pt x="754213" y="239530"/>
                  </a:lnTo>
                  <a:close/>
                  <a:moveTo>
                    <a:pt x="258419" y="86978"/>
                  </a:moveTo>
                  <a:lnTo>
                    <a:pt x="245706" y="144185"/>
                  </a:lnTo>
                  <a:lnTo>
                    <a:pt x="245706" y="144185"/>
                  </a:lnTo>
                  <a:close/>
                  <a:moveTo>
                    <a:pt x="1209857" y="0"/>
                  </a:moveTo>
                  <a:lnTo>
                    <a:pt x="1181282" y="28575"/>
                  </a:lnTo>
                  <a:lnTo>
                    <a:pt x="1214620" y="54768"/>
                  </a:lnTo>
                  <a:lnTo>
                    <a:pt x="1300345" y="57150"/>
                  </a:lnTo>
                  <a:lnTo>
                    <a:pt x="1271770" y="126206"/>
                  </a:lnTo>
                  <a:lnTo>
                    <a:pt x="1286057" y="169068"/>
                  </a:lnTo>
                  <a:lnTo>
                    <a:pt x="1328920" y="238125"/>
                  </a:lnTo>
                  <a:lnTo>
                    <a:pt x="1240814" y="219075"/>
                  </a:lnTo>
                  <a:lnTo>
                    <a:pt x="1181282" y="290512"/>
                  </a:lnTo>
                  <a:lnTo>
                    <a:pt x="1140801" y="278606"/>
                  </a:lnTo>
                  <a:lnTo>
                    <a:pt x="1078889" y="216693"/>
                  </a:lnTo>
                  <a:lnTo>
                    <a:pt x="1133657" y="195262"/>
                  </a:lnTo>
                  <a:lnTo>
                    <a:pt x="1090795" y="104775"/>
                  </a:lnTo>
                  <a:lnTo>
                    <a:pt x="1116989" y="85725"/>
                  </a:lnTo>
                  <a:lnTo>
                    <a:pt x="1212239" y="130968"/>
                  </a:lnTo>
                  <a:lnTo>
                    <a:pt x="1202714" y="73818"/>
                  </a:lnTo>
                  <a:lnTo>
                    <a:pt x="1140801" y="85725"/>
                  </a:lnTo>
                  <a:lnTo>
                    <a:pt x="1131276" y="4762"/>
                  </a:lnTo>
                  <a:close/>
                </a:path>
              </a:pathLst>
            </a:custGeom>
            <a:solidFill>
              <a:schemeClr val="bg2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0" name="_Map_Brandenburg">
              <a:extLst>
                <a:ext uri="{FF2B5EF4-FFF2-40B4-BE49-F238E27FC236}">
                  <a16:creationId xmlns:a16="http://schemas.microsoft.com/office/drawing/2014/main" id="{B98B9DC8-15AF-40A2-BDD7-6ECC6B6B4A2F}"/>
                </a:ext>
              </a:extLst>
            </p:cNvPr>
            <p:cNvSpPr/>
            <p:nvPr>
              <p:custDataLst>
                <p:tags r:id="rId8"/>
              </p:custDataLst>
            </p:nvPr>
          </p:nvSpPr>
          <p:spPr bwMode="gray">
            <a:xfrm>
              <a:off x="7631449" y="2395640"/>
              <a:ext cx="1406428" cy="1379093"/>
            </a:xfrm>
            <a:custGeom>
              <a:avLst/>
              <a:gdLst>
                <a:gd name="connsiteX0" fmla="*/ 2162328 w 3471070"/>
                <a:gd name="connsiteY0" fmla="*/ 1393031 h 3403600"/>
                <a:gd name="connsiteX1" fmla="*/ 2152803 w 3471070"/>
                <a:gd name="connsiteY1" fmla="*/ 1419225 h 3403600"/>
                <a:gd name="connsiteX2" fmla="*/ 2169471 w 3471070"/>
                <a:gd name="connsiteY2" fmla="*/ 1435894 h 3403600"/>
                <a:gd name="connsiteX3" fmla="*/ 2136134 w 3471070"/>
                <a:gd name="connsiteY3" fmla="*/ 1452563 h 3403600"/>
                <a:gd name="connsiteX4" fmla="*/ 2107559 w 3471070"/>
                <a:gd name="connsiteY4" fmla="*/ 1435894 h 3403600"/>
                <a:gd name="connsiteX5" fmla="*/ 2076603 w 3471070"/>
                <a:gd name="connsiteY5" fmla="*/ 1481138 h 3403600"/>
                <a:gd name="connsiteX6" fmla="*/ 2021834 w 3471070"/>
                <a:gd name="connsiteY6" fmla="*/ 1473994 h 3403600"/>
                <a:gd name="connsiteX7" fmla="*/ 2002784 w 3471070"/>
                <a:gd name="connsiteY7" fmla="*/ 1409700 h 3403600"/>
                <a:gd name="connsiteX8" fmla="*/ 1981353 w 3471070"/>
                <a:gd name="connsiteY8" fmla="*/ 1476375 h 3403600"/>
                <a:gd name="connsiteX9" fmla="*/ 1943253 w 3471070"/>
                <a:gd name="connsiteY9" fmla="*/ 1469231 h 3403600"/>
                <a:gd name="connsiteX10" fmla="*/ 1921821 w 3471070"/>
                <a:gd name="connsiteY10" fmla="*/ 1500188 h 3403600"/>
                <a:gd name="connsiteX11" fmla="*/ 1945634 w 3471070"/>
                <a:gd name="connsiteY11" fmla="*/ 1533525 h 3403600"/>
                <a:gd name="connsiteX12" fmla="*/ 1881340 w 3471070"/>
                <a:gd name="connsiteY12" fmla="*/ 1516856 h 3403600"/>
                <a:gd name="connsiteX13" fmla="*/ 1857528 w 3471070"/>
                <a:gd name="connsiteY13" fmla="*/ 1531144 h 3403600"/>
                <a:gd name="connsiteX14" fmla="*/ 1878959 w 3471070"/>
                <a:gd name="connsiteY14" fmla="*/ 1583531 h 3403600"/>
                <a:gd name="connsiteX15" fmla="*/ 1836096 w 3471070"/>
                <a:gd name="connsiteY15" fmla="*/ 1640681 h 3403600"/>
                <a:gd name="connsiteX16" fmla="*/ 1888484 w 3471070"/>
                <a:gd name="connsiteY16" fmla="*/ 1647825 h 3403600"/>
                <a:gd name="connsiteX17" fmla="*/ 1831334 w 3471070"/>
                <a:gd name="connsiteY17" fmla="*/ 1719263 h 3403600"/>
                <a:gd name="connsiteX18" fmla="*/ 1852765 w 3471070"/>
                <a:gd name="connsiteY18" fmla="*/ 1754981 h 3403600"/>
                <a:gd name="connsiteX19" fmla="*/ 1817046 w 3471070"/>
                <a:gd name="connsiteY19" fmla="*/ 1790700 h 3403600"/>
                <a:gd name="connsiteX20" fmla="*/ 1850384 w 3471070"/>
                <a:gd name="connsiteY20" fmla="*/ 1854994 h 3403600"/>
                <a:gd name="connsiteX21" fmla="*/ 1890865 w 3471070"/>
                <a:gd name="connsiteY21" fmla="*/ 1828800 h 3403600"/>
                <a:gd name="connsiteX22" fmla="*/ 1964684 w 3471070"/>
                <a:gd name="connsiteY22" fmla="*/ 1790700 h 3403600"/>
                <a:gd name="connsiteX23" fmla="*/ 1974209 w 3471070"/>
                <a:gd name="connsiteY23" fmla="*/ 1824038 h 3403600"/>
                <a:gd name="connsiteX24" fmla="*/ 2024215 w 3471070"/>
                <a:gd name="connsiteY24" fmla="*/ 1802606 h 3403600"/>
                <a:gd name="connsiteX25" fmla="*/ 2031359 w 3471070"/>
                <a:gd name="connsiteY25" fmla="*/ 1826419 h 3403600"/>
                <a:gd name="connsiteX26" fmla="*/ 2059934 w 3471070"/>
                <a:gd name="connsiteY26" fmla="*/ 1804988 h 3403600"/>
                <a:gd name="connsiteX27" fmla="*/ 2114703 w 3471070"/>
                <a:gd name="connsiteY27" fmla="*/ 1862138 h 3403600"/>
                <a:gd name="connsiteX28" fmla="*/ 2136134 w 3471070"/>
                <a:gd name="connsiteY28" fmla="*/ 1857375 h 3403600"/>
                <a:gd name="connsiteX29" fmla="*/ 2131371 w 3471070"/>
                <a:gd name="connsiteY29" fmla="*/ 1807369 h 3403600"/>
                <a:gd name="connsiteX30" fmla="*/ 2169471 w 3471070"/>
                <a:gd name="connsiteY30" fmla="*/ 1790700 h 3403600"/>
                <a:gd name="connsiteX31" fmla="*/ 2176615 w 3471070"/>
                <a:gd name="connsiteY31" fmla="*/ 1828800 h 3403600"/>
                <a:gd name="connsiteX32" fmla="*/ 2236146 w 3471070"/>
                <a:gd name="connsiteY32" fmla="*/ 1821656 h 3403600"/>
                <a:gd name="connsiteX33" fmla="*/ 2245671 w 3471070"/>
                <a:gd name="connsiteY33" fmla="*/ 1850231 h 3403600"/>
                <a:gd name="connsiteX34" fmla="*/ 2302821 w 3471070"/>
                <a:gd name="connsiteY34" fmla="*/ 1845469 h 3403600"/>
                <a:gd name="connsiteX35" fmla="*/ 2343303 w 3471070"/>
                <a:gd name="connsiteY35" fmla="*/ 1859756 h 3403600"/>
                <a:gd name="connsiteX36" fmla="*/ 2343303 w 3471070"/>
                <a:gd name="connsiteY36" fmla="*/ 1926431 h 3403600"/>
                <a:gd name="connsiteX37" fmla="*/ 2398071 w 3471070"/>
                <a:gd name="connsiteY37" fmla="*/ 1866900 h 3403600"/>
                <a:gd name="connsiteX38" fmla="*/ 2390928 w 3471070"/>
                <a:gd name="connsiteY38" fmla="*/ 1835944 h 3403600"/>
                <a:gd name="connsiteX39" fmla="*/ 2433790 w 3471070"/>
                <a:gd name="connsiteY39" fmla="*/ 1816894 h 3403600"/>
                <a:gd name="connsiteX40" fmla="*/ 2429028 w 3471070"/>
                <a:gd name="connsiteY40" fmla="*/ 1764506 h 3403600"/>
                <a:gd name="connsiteX41" fmla="*/ 2455221 w 3471070"/>
                <a:gd name="connsiteY41" fmla="*/ 1764506 h 3403600"/>
                <a:gd name="connsiteX42" fmla="*/ 2455221 w 3471070"/>
                <a:gd name="connsiteY42" fmla="*/ 1735931 h 3403600"/>
                <a:gd name="connsiteX43" fmla="*/ 2398071 w 3471070"/>
                <a:gd name="connsiteY43" fmla="*/ 1719263 h 3403600"/>
                <a:gd name="connsiteX44" fmla="*/ 2336159 w 3471070"/>
                <a:gd name="connsiteY44" fmla="*/ 1702594 h 3403600"/>
                <a:gd name="connsiteX45" fmla="*/ 2312346 w 3471070"/>
                <a:gd name="connsiteY45" fmla="*/ 1714500 h 3403600"/>
                <a:gd name="connsiteX46" fmla="*/ 2329015 w 3471070"/>
                <a:gd name="connsiteY46" fmla="*/ 1647825 h 3403600"/>
                <a:gd name="connsiteX47" fmla="*/ 2359971 w 3471070"/>
                <a:gd name="connsiteY47" fmla="*/ 1619250 h 3403600"/>
                <a:gd name="connsiteX48" fmla="*/ 2326634 w 3471070"/>
                <a:gd name="connsiteY48" fmla="*/ 1593056 h 3403600"/>
                <a:gd name="connsiteX49" fmla="*/ 2274246 w 3471070"/>
                <a:gd name="connsiteY49" fmla="*/ 1588294 h 3403600"/>
                <a:gd name="connsiteX50" fmla="*/ 2279009 w 3471070"/>
                <a:gd name="connsiteY50" fmla="*/ 1552575 h 3403600"/>
                <a:gd name="connsiteX51" fmla="*/ 2212334 w 3471070"/>
                <a:gd name="connsiteY51" fmla="*/ 1519238 h 3403600"/>
                <a:gd name="connsiteX52" fmla="*/ 2195665 w 3471070"/>
                <a:gd name="connsiteY52" fmla="*/ 1488281 h 3403600"/>
                <a:gd name="connsiteX53" fmla="*/ 2224240 w 3471070"/>
                <a:gd name="connsiteY53" fmla="*/ 1447800 h 3403600"/>
                <a:gd name="connsiteX54" fmla="*/ 2190903 w 3471070"/>
                <a:gd name="connsiteY54" fmla="*/ 1421606 h 3403600"/>
                <a:gd name="connsiteX55" fmla="*/ 2195665 w 3471070"/>
                <a:gd name="connsiteY55" fmla="*/ 1393031 h 3403600"/>
                <a:gd name="connsiteX56" fmla="*/ 2493320 w 3471070"/>
                <a:gd name="connsiteY56" fmla="*/ 0 h 3403600"/>
                <a:gd name="connsiteX57" fmla="*/ 2540945 w 3471070"/>
                <a:gd name="connsiteY57" fmla="*/ 52388 h 3403600"/>
                <a:gd name="connsiteX58" fmla="*/ 2579045 w 3471070"/>
                <a:gd name="connsiteY58" fmla="*/ 104775 h 3403600"/>
                <a:gd name="connsiteX59" fmla="*/ 2617145 w 3471070"/>
                <a:gd name="connsiteY59" fmla="*/ 219075 h 3403600"/>
                <a:gd name="connsiteX60" fmla="*/ 2760020 w 3471070"/>
                <a:gd name="connsiteY60" fmla="*/ 223838 h 3403600"/>
                <a:gd name="connsiteX61" fmla="*/ 2812408 w 3471070"/>
                <a:gd name="connsiteY61" fmla="*/ 180975 h 3403600"/>
                <a:gd name="connsiteX62" fmla="*/ 2926708 w 3471070"/>
                <a:gd name="connsiteY62" fmla="*/ 209550 h 3403600"/>
                <a:gd name="connsiteX63" fmla="*/ 2912420 w 3471070"/>
                <a:gd name="connsiteY63" fmla="*/ 300038 h 3403600"/>
                <a:gd name="connsiteX64" fmla="*/ 2788595 w 3471070"/>
                <a:gd name="connsiteY64" fmla="*/ 471488 h 3403600"/>
                <a:gd name="connsiteX65" fmla="*/ 2907658 w 3471070"/>
                <a:gd name="connsiteY65" fmla="*/ 481013 h 3403600"/>
                <a:gd name="connsiteX66" fmla="*/ 2960045 w 3471070"/>
                <a:gd name="connsiteY66" fmla="*/ 447675 h 3403600"/>
                <a:gd name="connsiteX67" fmla="*/ 3002908 w 3471070"/>
                <a:gd name="connsiteY67" fmla="*/ 390525 h 3403600"/>
                <a:gd name="connsiteX68" fmla="*/ 3060058 w 3471070"/>
                <a:gd name="connsiteY68" fmla="*/ 361950 h 3403600"/>
                <a:gd name="connsiteX69" fmla="*/ 3168735 w 3471070"/>
                <a:gd name="connsiteY69" fmla="*/ 290270 h 3403600"/>
                <a:gd name="connsiteX70" fmla="*/ 3157321 w 3471070"/>
                <a:gd name="connsiteY70" fmla="*/ 529999 h 3403600"/>
                <a:gd name="connsiteX71" fmla="*/ 3031821 w 3471070"/>
                <a:gd name="connsiteY71" fmla="*/ 796687 h 3403600"/>
                <a:gd name="connsiteX72" fmla="*/ 2890634 w 3471070"/>
                <a:gd name="connsiteY72" fmla="*/ 953561 h 3403600"/>
                <a:gd name="connsiteX73" fmla="*/ 2827884 w 3471070"/>
                <a:gd name="connsiteY73" fmla="*/ 1094749 h 3403600"/>
                <a:gd name="connsiteX74" fmla="*/ 2906321 w 3471070"/>
                <a:gd name="connsiteY74" fmla="*/ 1141811 h 3403600"/>
                <a:gd name="connsiteX75" fmla="*/ 3063196 w 3471070"/>
                <a:gd name="connsiteY75" fmla="*/ 1267311 h 3403600"/>
                <a:gd name="connsiteX76" fmla="*/ 3267133 w 3471070"/>
                <a:gd name="connsiteY76" fmla="*/ 1392811 h 3403600"/>
                <a:gd name="connsiteX77" fmla="*/ 3376945 w 3471070"/>
                <a:gd name="connsiteY77" fmla="*/ 1518310 h 3403600"/>
                <a:gd name="connsiteX78" fmla="*/ 3314195 w 3471070"/>
                <a:gd name="connsiteY78" fmla="*/ 1706560 h 3403600"/>
                <a:gd name="connsiteX79" fmla="*/ 3282820 w 3471070"/>
                <a:gd name="connsiteY79" fmla="*/ 1816373 h 3403600"/>
                <a:gd name="connsiteX80" fmla="*/ 3251445 w 3471070"/>
                <a:gd name="connsiteY80" fmla="*/ 2020310 h 3403600"/>
                <a:gd name="connsiteX81" fmla="*/ 3424007 w 3471070"/>
                <a:gd name="connsiteY81" fmla="*/ 2161497 h 3403600"/>
                <a:gd name="connsiteX82" fmla="*/ 3471070 w 3471070"/>
                <a:gd name="connsiteY82" fmla="*/ 2365434 h 3403600"/>
                <a:gd name="connsiteX83" fmla="*/ 3376945 w 3471070"/>
                <a:gd name="connsiteY83" fmla="*/ 2490934 h 3403600"/>
                <a:gd name="connsiteX84" fmla="*/ 3251445 w 3471070"/>
                <a:gd name="connsiteY84" fmla="*/ 2757621 h 3403600"/>
                <a:gd name="connsiteX85" fmla="*/ 3376945 w 3471070"/>
                <a:gd name="connsiteY85" fmla="*/ 2883121 h 3403600"/>
                <a:gd name="connsiteX86" fmla="*/ 3439695 w 3471070"/>
                <a:gd name="connsiteY86" fmla="*/ 2992933 h 3403600"/>
                <a:gd name="connsiteX87" fmla="*/ 3444650 w 3471070"/>
                <a:gd name="connsiteY87" fmla="*/ 3067258 h 3403600"/>
                <a:gd name="connsiteX88" fmla="*/ 3418834 w 3471070"/>
                <a:gd name="connsiteY88" fmla="*/ 3054350 h 3403600"/>
                <a:gd name="connsiteX89" fmla="*/ 3253734 w 3471070"/>
                <a:gd name="connsiteY89" fmla="*/ 3136900 h 3403600"/>
                <a:gd name="connsiteX90" fmla="*/ 3234684 w 3471070"/>
                <a:gd name="connsiteY90" fmla="*/ 3098800 h 3403600"/>
                <a:gd name="connsiteX91" fmla="*/ 2993384 w 3471070"/>
                <a:gd name="connsiteY91" fmla="*/ 3194050 h 3403600"/>
                <a:gd name="connsiteX92" fmla="*/ 2815584 w 3471070"/>
                <a:gd name="connsiteY92" fmla="*/ 3136900 h 3403600"/>
                <a:gd name="connsiteX93" fmla="*/ 2669534 w 3471070"/>
                <a:gd name="connsiteY93" fmla="*/ 3397250 h 3403600"/>
                <a:gd name="connsiteX94" fmla="*/ 2275834 w 3471070"/>
                <a:gd name="connsiteY94" fmla="*/ 3403600 h 3403600"/>
                <a:gd name="connsiteX95" fmla="*/ 2142484 w 3471070"/>
                <a:gd name="connsiteY95" fmla="*/ 3302000 h 3403600"/>
                <a:gd name="connsiteX96" fmla="*/ 2091684 w 3471070"/>
                <a:gd name="connsiteY96" fmla="*/ 3308350 h 3403600"/>
                <a:gd name="connsiteX97" fmla="*/ 1964684 w 3471070"/>
                <a:gd name="connsiteY97" fmla="*/ 3371850 h 3403600"/>
                <a:gd name="connsiteX98" fmla="*/ 1907534 w 3471070"/>
                <a:gd name="connsiteY98" fmla="*/ 3314700 h 3403600"/>
                <a:gd name="connsiteX99" fmla="*/ 1926584 w 3471070"/>
                <a:gd name="connsiteY99" fmla="*/ 3155950 h 3403600"/>
                <a:gd name="connsiteX100" fmla="*/ 1875784 w 3471070"/>
                <a:gd name="connsiteY100" fmla="*/ 3054350 h 3403600"/>
                <a:gd name="connsiteX101" fmla="*/ 1831334 w 3471070"/>
                <a:gd name="connsiteY101" fmla="*/ 3054350 h 3403600"/>
                <a:gd name="connsiteX102" fmla="*/ 1824984 w 3471070"/>
                <a:gd name="connsiteY102" fmla="*/ 2971800 h 3403600"/>
                <a:gd name="connsiteX103" fmla="*/ 1901184 w 3471070"/>
                <a:gd name="connsiteY103" fmla="*/ 2889250 h 3403600"/>
                <a:gd name="connsiteX104" fmla="*/ 1882134 w 3471070"/>
                <a:gd name="connsiteY104" fmla="*/ 2635250 h 3403600"/>
                <a:gd name="connsiteX105" fmla="*/ 1799584 w 3471070"/>
                <a:gd name="connsiteY105" fmla="*/ 2628900 h 3403600"/>
                <a:gd name="connsiteX106" fmla="*/ 1424934 w 3471070"/>
                <a:gd name="connsiteY106" fmla="*/ 2413000 h 3403600"/>
                <a:gd name="connsiteX107" fmla="*/ 1348734 w 3471070"/>
                <a:gd name="connsiteY107" fmla="*/ 2489200 h 3403600"/>
                <a:gd name="connsiteX108" fmla="*/ 1247134 w 3471070"/>
                <a:gd name="connsiteY108" fmla="*/ 2400300 h 3403600"/>
                <a:gd name="connsiteX109" fmla="*/ 1183634 w 3471070"/>
                <a:gd name="connsiteY109" fmla="*/ 2432050 h 3403600"/>
                <a:gd name="connsiteX110" fmla="*/ 1005834 w 3471070"/>
                <a:gd name="connsiteY110" fmla="*/ 2184400 h 3403600"/>
                <a:gd name="connsiteX111" fmla="*/ 1062984 w 3471070"/>
                <a:gd name="connsiteY111" fmla="*/ 1809750 h 3403600"/>
                <a:gd name="connsiteX112" fmla="*/ 1094734 w 3471070"/>
                <a:gd name="connsiteY112" fmla="*/ 1689100 h 3403600"/>
                <a:gd name="connsiteX113" fmla="*/ 1012184 w 3471070"/>
                <a:gd name="connsiteY113" fmla="*/ 1619250 h 3403600"/>
                <a:gd name="connsiteX114" fmla="*/ 974084 w 3471070"/>
                <a:gd name="connsiteY114" fmla="*/ 1682750 h 3403600"/>
                <a:gd name="connsiteX115" fmla="*/ 923284 w 3471070"/>
                <a:gd name="connsiteY115" fmla="*/ 1619250 h 3403600"/>
                <a:gd name="connsiteX116" fmla="*/ 942334 w 3471070"/>
                <a:gd name="connsiteY116" fmla="*/ 1492250 h 3403600"/>
                <a:gd name="connsiteX117" fmla="*/ 1024884 w 3471070"/>
                <a:gd name="connsiteY117" fmla="*/ 1435100 h 3403600"/>
                <a:gd name="connsiteX118" fmla="*/ 980434 w 3471070"/>
                <a:gd name="connsiteY118" fmla="*/ 1276350 h 3403600"/>
                <a:gd name="connsiteX119" fmla="*/ 1037584 w 3471070"/>
                <a:gd name="connsiteY119" fmla="*/ 1181100 h 3403600"/>
                <a:gd name="connsiteX120" fmla="*/ 993134 w 3471070"/>
                <a:gd name="connsiteY120" fmla="*/ 1092200 h 3403600"/>
                <a:gd name="connsiteX121" fmla="*/ 923284 w 3471070"/>
                <a:gd name="connsiteY121" fmla="*/ 1117600 h 3403600"/>
                <a:gd name="connsiteX122" fmla="*/ 897884 w 3471070"/>
                <a:gd name="connsiteY122" fmla="*/ 1060450 h 3403600"/>
                <a:gd name="connsiteX123" fmla="*/ 764534 w 3471070"/>
                <a:gd name="connsiteY123" fmla="*/ 1073150 h 3403600"/>
                <a:gd name="connsiteX124" fmla="*/ 618484 w 3471070"/>
                <a:gd name="connsiteY124" fmla="*/ 1009650 h 3403600"/>
                <a:gd name="connsiteX125" fmla="*/ 650234 w 3471070"/>
                <a:gd name="connsiteY125" fmla="*/ 939800 h 3403600"/>
                <a:gd name="connsiteX126" fmla="*/ 574034 w 3471070"/>
                <a:gd name="connsiteY126" fmla="*/ 895350 h 3403600"/>
                <a:gd name="connsiteX127" fmla="*/ 485134 w 3471070"/>
                <a:gd name="connsiteY127" fmla="*/ 889000 h 3403600"/>
                <a:gd name="connsiteX128" fmla="*/ 377184 w 3471070"/>
                <a:gd name="connsiteY128" fmla="*/ 838200 h 3403600"/>
                <a:gd name="connsiteX129" fmla="*/ 362921 w 3471070"/>
                <a:gd name="connsiteY129" fmla="*/ 843610 h 3403600"/>
                <a:gd name="connsiteX130" fmla="*/ 381352 w 3471070"/>
                <a:gd name="connsiteY130" fmla="*/ 825179 h 3403600"/>
                <a:gd name="connsiteX131" fmla="*/ 292452 w 3471070"/>
                <a:gd name="connsiteY131" fmla="*/ 799779 h 3403600"/>
                <a:gd name="connsiteX132" fmla="*/ 248002 w 3471070"/>
                <a:gd name="connsiteY132" fmla="*/ 768029 h 3403600"/>
                <a:gd name="connsiteX133" fmla="*/ 140052 w 3471070"/>
                <a:gd name="connsiteY133" fmla="*/ 825179 h 3403600"/>
                <a:gd name="connsiteX134" fmla="*/ 352 w 3471070"/>
                <a:gd name="connsiteY134" fmla="*/ 691830 h 3403600"/>
                <a:gd name="connsiteX135" fmla="*/ 0 w 3471070"/>
                <a:gd name="connsiteY135" fmla="*/ 689363 h 3403600"/>
                <a:gd name="connsiteX136" fmla="*/ 2533 w 3471070"/>
                <a:gd name="connsiteY136" fmla="*/ 685800 h 3403600"/>
                <a:gd name="connsiteX137" fmla="*/ 212083 w 3471070"/>
                <a:gd name="connsiteY137" fmla="*/ 709613 h 3403600"/>
                <a:gd name="connsiteX138" fmla="*/ 212083 w 3471070"/>
                <a:gd name="connsiteY138" fmla="*/ 671513 h 3403600"/>
                <a:gd name="connsiteX139" fmla="*/ 340670 w 3471070"/>
                <a:gd name="connsiteY139" fmla="*/ 695325 h 3403600"/>
                <a:gd name="connsiteX140" fmla="*/ 359720 w 3471070"/>
                <a:gd name="connsiteY140" fmla="*/ 581025 h 3403600"/>
                <a:gd name="connsiteX141" fmla="*/ 488308 w 3471070"/>
                <a:gd name="connsiteY141" fmla="*/ 504825 h 3403600"/>
                <a:gd name="connsiteX142" fmla="*/ 526408 w 3471070"/>
                <a:gd name="connsiteY142" fmla="*/ 552450 h 3403600"/>
                <a:gd name="connsiteX143" fmla="*/ 759770 w 3471070"/>
                <a:gd name="connsiteY143" fmla="*/ 447675 h 3403600"/>
                <a:gd name="connsiteX144" fmla="*/ 840733 w 3471070"/>
                <a:gd name="connsiteY144" fmla="*/ 323850 h 3403600"/>
                <a:gd name="connsiteX145" fmla="*/ 988370 w 3471070"/>
                <a:gd name="connsiteY145" fmla="*/ 333375 h 3403600"/>
                <a:gd name="connsiteX146" fmla="*/ 1169345 w 3471070"/>
                <a:gd name="connsiteY146" fmla="*/ 419100 h 3403600"/>
                <a:gd name="connsiteX147" fmla="*/ 1221733 w 3471070"/>
                <a:gd name="connsiteY147" fmla="*/ 500063 h 3403600"/>
                <a:gd name="connsiteX148" fmla="*/ 1369370 w 3471070"/>
                <a:gd name="connsiteY148" fmla="*/ 504825 h 3403600"/>
                <a:gd name="connsiteX149" fmla="*/ 1431283 w 3471070"/>
                <a:gd name="connsiteY149" fmla="*/ 481013 h 3403600"/>
                <a:gd name="connsiteX150" fmla="*/ 1517008 w 3471070"/>
                <a:gd name="connsiteY150" fmla="*/ 585788 h 3403600"/>
                <a:gd name="connsiteX151" fmla="*/ 1678933 w 3471070"/>
                <a:gd name="connsiteY151" fmla="*/ 585788 h 3403600"/>
                <a:gd name="connsiteX152" fmla="*/ 1731320 w 3471070"/>
                <a:gd name="connsiteY152" fmla="*/ 628650 h 3403600"/>
                <a:gd name="connsiteX153" fmla="*/ 1874195 w 3471070"/>
                <a:gd name="connsiteY153" fmla="*/ 509588 h 3403600"/>
                <a:gd name="connsiteX154" fmla="*/ 1912295 w 3471070"/>
                <a:gd name="connsiteY154" fmla="*/ 500063 h 3403600"/>
                <a:gd name="connsiteX155" fmla="*/ 1959920 w 3471070"/>
                <a:gd name="connsiteY155" fmla="*/ 552450 h 3403600"/>
                <a:gd name="connsiteX156" fmla="*/ 2017070 w 3471070"/>
                <a:gd name="connsiteY156" fmla="*/ 457200 h 3403600"/>
                <a:gd name="connsiteX157" fmla="*/ 2078983 w 3471070"/>
                <a:gd name="connsiteY157" fmla="*/ 457200 h 3403600"/>
                <a:gd name="connsiteX158" fmla="*/ 2117083 w 3471070"/>
                <a:gd name="connsiteY158" fmla="*/ 514350 h 3403600"/>
                <a:gd name="connsiteX159" fmla="*/ 2240908 w 3471070"/>
                <a:gd name="connsiteY159" fmla="*/ 371475 h 3403600"/>
                <a:gd name="connsiteX160" fmla="*/ 2264720 w 3471070"/>
                <a:gd name="connsiteY160" fmla="*/ 266700 h 3403600"/>
                <a:gd name="connsiteX161" fmla="*/ 2345683 w 3471070"/>
                <a:gd name="connsiteY161" fmla="*/ 233363 h 3403600"/>
                <a:gd name="connsiteX162" fmla="*/ 2440933 w 3471070"/>
                <a:gd name="connsiteY162" fmla="*/ 123825 h 3403600"/>
                <a:gd name="connsiteX163" fmla="*/ 2502845 w 3471070"/>
                <a:gd name="connsiteY163" fmla="*/ 142875 h 3403600"/>
                <a:gd name="connsiteX164" fmla="*/ 2512370 w 3471070"/>
                <a:gd name="connsiteY164" fmla="*/ 95250 h 340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</a:cxnLst>
              <a:rect l="l" t="t" r="r" b="b"/>
              <a:pathLst>
                <a:path w="3471070" h="3403600">
                  <a:moveTo>
                    <a:pt x="2162328" y="1393031"/>
                  </a:moveTo>
                  <a:lnTo>
                    <a:pt x="2152803" y="1419225"/>
                  </a:lnTo>
                  <a:lnTo>
                    <a:pt x="2169471" y="1435894"/>
                  </a:lnTo>
                  <a:lnTo>
                    <a:pt x="2136134" y="1452563"/>
                  </a:lnTo>
                  <a:lnTo>
                    <a:pt x="2107559" y="1435894"/>
                  </a:lnTo>
                  <a:lnTo>
                    <a:pt x="2076603" y="1481138"/>
                  </a:lnTo>
                  <a:lnTo>
                    <a:pt x="2021834" y="1473994"/>
                  </a:lnTo>
                  <a:lnTo>
                    <a:pt x="2002784" y="1409700"/>
                  </a:lnTo>
                  <a:lnTo>
                    <a:pt x="1981353" y="1476375"/>
                  </a:lnTo>
                  <a:lnTo>
                    <a:pt x="1943253" y="1469231"/>
                  </a:lnTo>
                  <a:lnTo>
                    <a:pt x="1921821" y="1500188"/>
                  </a:lnTo>
                  <a:lnTo>
                    <a:pt x="1945634" y="1533525"/>
                  </a:lnTo>
                  <a:lnTo>
                    <a:pt x="1881340" y="1516856"/>
                  </a:lnTo>
                  <a:lnTo>
                    <a:pt x="1857528" y="1531144"/>
                  </a:lnTo>
                  <a:lnTo>
                    <a:pt x="1878959" y="1583531"/>
                  </a:lnTo>
                  <a:lnTo>
                    <a:pt x="1836096" y="1640681"/>
                  </a:lnTo>
                  <a:lnTo>
                    <a:pt x="1888484" y="1647825"/>
                  </a:lnTo>
                  <a:lnTo>
                    <a:pt x="1831334" y="1719263"/>
                  </a:lnTo>
                  <a:lnTo>
                    <a:pt x="1852765" y="1754981"/>
                  </a:lnTo>
                  <a:lnTo>
                    <a:pt x="1817046" y="1790700"/>
                  </a:lnTo>
                  <a:lnTo>
                    <a:pt x="1850384" y="1854994"/>
                  </a:lnTo>
                  <a:lnTo>
                    <a:pt x="1890865" y="1828800"/>
                  </a:lnTo>
                  <a:lnTo>
                    <a:pt x="1964684" y="1790700"/>
                  </a:lnTo>
                  <a:lnTo>
                    <a:pt x="1974209" y="1824038"/>
                  </a:lnTo>
                  <a:lnTo>
                    <a:pt x="2024215" y="1802606"/>
                  </a:lnTo>
                  <a:lnTo>
                    <a:pt x="2031359" y="1826419"/>
                  </a:lnTo>
                  <a:lnTo>
                    <a:pt x="2059934" y="1804988"/>
                  </a:lnTo>
                  <a:lnTo>
                    <a:pt x="2114703" y="1862138"/>
                  </a:lnTo>
                  <a:lnTo>
                    <a:pt x="2136134" y="1857375"/>
                  </a:lnTo>
                  <a:lnTo>
                    <a:pt x="2131371" y="1807369"/>
                  </a:lnTo>
                  <a:lnTo>
                    <a:pt x="2169471" y="1790700"/>
                  </a:lnTo>
                  <a:lnTo>
                    <a:pt x="2176615" y="1828800"/>
                  </a:lnTo>
                  <a:lnTo>
                    <a:pt x="2236146" y="1821656"/>
                  </a:lnTo>
                  <a:lnTo>
                    <a:pt x="2245671" y="1850231"/>
                  </a:lnTo>
                  <a:lnTo>
                    <a:pt x="2302821" y="1845469"/>
                  </a:lnTo>
                  <a:lnTo>
                    <a:pt x="2343303" y="1859756"/>
                  </a:lnTo>
                  <a:lnTo>
                    <a:pt x="2343303" y="1926431"/>
                  </a:lnTo>
                  <a:lnTo>
                    <a:pt x="2398071" y="1866900"/>
                  </a:lnTo>
                  <a:lnTo>
                    <a:pt x="2390928" y="1835944"/>
                  </a:lnTo>
                  <a:lnTo>
                    <a:pt x="2433790" y="1816894"/>
                  </a:lnTo>
                  <a:lnTo>
                    <a:pt x="2429028" y="1764506"/>
                  </a:lnTo>
                  <a:lnTo>
                    <a:pt x="2455221" y="1764506"/>
                  </a:lnTo>
                  <a:lnTo>
                    <a:pt x="2455221" y="1735931"/>
                  </a:lnTo>
                  <a:lnTo>
                    <a:pt x="2398071" y="1719263"/>
                  </a:lnTo>
                  <a:lnTo>
                    <a:pt x="2336159" y="1702594"/>
                  </a:lnTo>
                  <a:lnTo>
                    <a:pt x="2312346" y="1714500"/>
                  </a:lnTo>
                  <a:lnTo>
                    <a:pt x="2329015" y="1647825"/>
                  </a:lnTo>
                  <a:lnTo>
                    <a:pt x="2359971" y="1619250"/>
                  </a:lnTo>
                  <a:lnTo>
                    <a:pt x="2326634" y="1593056"/>
                  </a:lnTo>
                  <a:lnTo>
                    <a:pt x="2274246" y="1588294"/>
                  </a:lnTo>
                  <a:lnTo>
                    <a:pt x="2279009" y="1552575"/>
                  </a:lnTo>
                  <a:lnTo>
                    <a:pt x="2212334" y="1519238"/>
                  </a:lnTo>
                  <a:lnTo>
                    <a:pt x="2195665" y="1488281"/>
                  </a:lnTo>
                  <a:lnTo>
                    <a:pt x="2224240" y="1447800"/>
                  </a:lnTo>
                  <a:lnTo>
                    <a:pt x="2190903" y="1421606"/>
                  </a:lnTo>
                  <a:lnTo>
                    <a:pt x="2195665" y="1393031"/>
                  </a:lnTo>
                  <a:close/>
                  <a:moveTo>
                    <a:pt x="2493320" y="0"/>
                  </a:moveTo>
                  <a:lnTo>
                    <a:pt x="2540945" y="52388"/>
                  </a:lnTo>
                  <a:lnTo>
                    <a:pt x="2579045" y="104775"/>
                  </a:lnTo>
                  <a:lnTo>
                    <a:pt x="2617145" y="219075"/>
                  </a:lnTo>
                  <a:lnTo>
                    <a:pt x="2760020" y="223838"/>
                  </a:lnTo>
                  <a:lnTo>
                    <a:pt x="2812408" y="180975"/>
                  </a:lnTo>
                  <a:lnTo>
                    <a:pt x="2926708" y="209550"/>
                  </a:lnTo>
                  <a:lnTo>
                    <a:pt x="2912420" y="300038"/>
                  </a:lnTo>
                  <a:lnTo>
                    <a:pt x="2788595" y="471488"/>
                  </a:lnTo>
                  <a:lnTo>
                    <a:pt x="2907658" y="481013"/>
                  </a:lnTo>
                  <a:lnTo>
                    <a:pt x="2960045" y="447675"/>
                  </a:lnTo>
                  <a:lnTo>
                    <a:pt x="3002908" y="390525"/>
                  </a:lnTo>
                  <a:lnTo>
                    <a:pt x="3060058" y="361950"/>
                  </a:lnTo>
                  <a:lnTo>
                    <a:pt x="3168735" y="290270"/>
                  </a:lnTo>
                  <a:lnTo>
                    <a:pt x="3157321" y="529999"/>
                  </a:lnTo>
                  <a:lnTo>
                    <a:pt x="3031821" y="796687"/>
                  </a:lnTo>
                  <a:lnTo>
                    <a:pt x="2890634" y="953561"/>
                  </a:lnTo>
                  <a:lnTo>
                    <a:pt x="2827884" y="1094749"/>
                  </a:lnTo>
                  <a:lnTo>
                    <a:pt x="2906321" y="1141811"/>
                  </a:lnTo>
                  <a:lnTo>
                    <a:pt x="3063196" y="1267311"/>
                  </a:lnTo>
                  <a:lnTo>
                    <a:pt x="3267133" y="1392811"/>
                  </a:lnTo>
                  <a:lnTo>
                    <a:pt x="3376945" y="1518310"/>
                  </a:lnTo>
                  <a:lnTo>
                    <a:pt x="3314195" y="1706560"/>
                  </a:lnTo>
                  <a:lnTo>
                    <a:pt x="3282820" y="1816373"/>
                  </a:lnTo>
                  <a:lnTo>
                    <a:pt x="3251445" y="2020310"/>
                  </a:lnTo>
                  <a:lnTo>
                    <a:pt x="3424007" y="2161497"/>
                  </a:lnTo>
                  <a:lnTo>
                    <a:pt x="3471070" y="2365434"/>
                  </a:lnTo>
                  <a:lnTo>
                    <a:pt x="3376945" y="2490934"/>
                  </a:lnTo>
                  <a:lnTo>
                    <a:pt x="3251445" y="2757621"/>
                  </a:lnTo>
                  <a:lnTo>
                    <a:pt x="3376945" y="2883121"/>
                  </a:lnTo>
                  <a:lnTo>
                    <a:pt x="3439695" y="2992933"/>
                  </a:lnTo>
                  <a:lnTo>
                    <a:pt x="3444650" y="3067258"/>
                  </a:lnTo>
                  <a:lnTo>
                    <a:pt x="3418834" y="3054350"/>
                  </a:lnTo>
                  <a:lnTo>
                    <a:pt x="3253734" y="3136900"/>
                  </a:lnTo>
                  <a:lnTo>
                    <a:pt x="3234684" y="3098800"/>
                  </a:lnTo>
                  <a:lnTo>
                    <a:pt x="2993384" y="3194050"/>
                  </a:lnTo>
                  <a:lnTo>
                    <a:pt x="2815584" y="3136900"/>
                  </a:lnTo>
                  <a:lnTo>
                    <a:pt x="2669534" y="3397250"/>
                  </a:lnTo>
                  <a:lnTo>
                    <a:pt x="2275834" y="3403600"/>
                  </a:lnTo>
                  <a:lnTo>
                    <a:pt x="2142484" y="3302000"/>
                  </a:lnTo>
                  <a:lnTo>
                    <a:pt x="2091684" y="3308350"/>
                  </a:lnTo>
                  <a:lnTo>
                    <a:pt x="1964684" y="3371850"/>
                  </a:lnTo>
                  <a:lnTo>
                    <a:pt x="1907534" y="3314700"/>
                  </a:lnTo>
                  <a:lnTo>
                    <a:pt x="1926584" y="3155950"/>
                  </a:lnTo>
                  <a:lnTo>
                    <a:pt x="1875784" y="3054350"/>
                  </a:lnTo>
                  <a:lnTo>
                    <a:pt x="1831334" y="3054350"/>
                  </a:lnTo>
                  <a:lnTo>
                    <a:pt x="1824984" y="2971800"/>
                  </a:lnTo>
                  <a:lnTo>
                    <a:pt x="1901184" y="2889250"/>
                  </a:lnTo>
                  <a:lnTo>
                    <a:pt x="1882134" y="2635250"/>
                  </a:lnTo>
                  <a:lnTo>
                    <a:pt x="1799584" y="2628900"/>
                  </a:lnTo>
                  <a:lnTo>
                    <a:pt x="1424934" y="2413000"/>
                  </a:lnTo>
                  <a:lnTo>
                    <a:pt x="1348734" y="2489200"/>
                  </a:lnTo>
                  <a:lnTo>
                    <a:pt x="1247134" y="2400300"/>
                  </a:lnTo>
                  <a:lnTo>
                    <a:pt x="1183634" y="2432050"/>
                  </a:lnTo>
                  <a:lnTo>
                    <a:pt x="1005834" y="2184400"/>
                  </a:lnTo>
                  <a:lnTo>
                    <a:pt x="1062984" y="1809750"/>
                  </a:lnTo>
                  <a:lnTo>
                    <a:pt x="1094734" y="1689100"/>
                  </a:lnTo>
                  <a:lnTo>
                    <a:pt x="1012184" y="1619250"/>
                  </a:lnTo>
                  <a:lnTo>
                    <a:pt x="974084" y="1682750"/>
                  </a:lnTo>
                  <a:lnTo>
                    <a:pt x="923284" y="1619250"/>
                  </a:lnTo>
                  <a:lnTo>
                    <a:pt x="942334" y="1492250"/>
                  </a:lnTo>
                  <a:lnTo>
                    <a:pt x="1024884" y="1435100"/>
                  </a:lnTo>
                  <a:lnTo>
                    <a:pt x="980434" y="1276350"/>
                  </a:lnTo>
                  <a:lnTo>
                    <a:pt x="1037584" y="1181100"/>
                  </a:lnTo>
                  <a:lnTo>
                    <a:pt x="993134" y="1092200"/>
                  </a:lnTo>
                  <a:lnTo>
                    <a:pt x="923284" y="1117600"/>
                  </a:lnTo>
                  <a:lnTo>
                    <a:pt x="897884" y="1060450"/>
                  </a:lnTo>
                  <a:lnTo>
                    <a:pt x="764534" y="1073150"/>
                  </a:lnTo>
                  <a:lnTo>
                    <a:pt x="618484" y="1009650"/>
                  </a:lnTo>
                  <a:lnTo>
                    <a:pt x="650234" y="939800"/>
                  </a:lnTo>
                  <a:lnTo>
                    <a:pt x="574034" y="895350"/>
                  </a:lnTo>
                  <a:lnTo>
                    <a:pt x="485134" y="889000"/>
                  </a:lnTo>
                  <a:lnTo>
                    <a:pt x="377184" y="838200"/>
                  </a:lnTo>
                  <a:lnTo>
                    <a:pt x="362921" y="843610"/>
                  </a:lnTo>
                  <a:lnTo>
                    <a:pt x="381352" y="825179"/>
                  </a:lnTo>
                  <a:lnTo>
                    <a:pt x="292452" y="799779"/>
                  </a:lnTo>
                  <a:lnTo>
                    <a:pt x="248002" y="768029"/>
                  </a:lnTo>
                  <a:lnTo>
                    <a:pt x="140052" y="825179"/>
                  </a:lnTo>
                  <a:lnTo>
                    <a:pt x="352" y="691830"/>
                  </a:lnTo>
                  <a:cubicBezTo>
                    <a:pt x="235" y="691008"/>
                    <a:pt x="117" y="690185"/>
                    <a:pt x="0" y="689363"/>
                  </a:cubicBezTo>
                  <a:lnTo>
                    <a:pt x="2533" y="685800"/>
                  </a:lnTo>
                  <a:lnTo>
                    <a:pt x="212083" y="709613"/>
                  </a:lnTo>
                  <a:lnTo>
                    <a:pt x="212083" y="671513"/>
                  </a:lnTo>
                  <a:lnTo>
                    <a:pt x="340670" y="695325"/>
                  </a:lnTo>
                  <a:lnTo>
                    <a:pt x="359720" y="581025"/>
                  </a:lnTo>
                  <a:lnTo>
                    <a:pt x="488308" y="504825"/>
                  </a:lnTo>
                  <a:lnTo>
                    <a:pt x="526408" y="552450"/>
                  </a:lnTo>
                  <a:lnTo>
                    <a:pt x="759770" y="447675"/>
                  </a:lnTo>
                  <a:lnTo>
                    <a:pt x="840733" y="323850"/>
                  </a:lnTo>
                  <a:lnTo>
                    <a:pt x="988370" y="333375"/>
                  </a:lnTo>
                  <a:lnTo>
                    <a:pt x="1169345" y="419100"/>
                  </a:lnTo>
                  <a:lnTo>
                    <a:pt x="1221733" y="500063"/>
                  </a:lnTo>
                  <a:lnTo>
                    <a:pt x="1369370" y="504825"/>
                  </a:lnTo>
                  <a:lnTo>
                    <a:pt x="1431283" y="481013"/>
                  </a:lnTo>
                  <a:lnTo>
                    <a:pt x="1517008" y="585788"/>
                  </a:lnTo>
                  <a:lnTo>
                    <a:pt x="1678933" y="585788"/>
                  </a:lnTo>
                  <a:lnTo>
                    <a:pt x="1731320" y="628650"/>
                  </a:lnTo>
                  <a:lnTo>
                    <a:pt x="1874195" y="509588"/>
                  </a:lnTo>
                  <a:lnTo>
                    <a:pt x="1912295" y="500063"/>
                  </a:lnTo>
                  <a:lnTo>
                    <a:pt x="1959920" y="552450"/>
                  </a:lnTo>
                  <a:lnTo>
                    <a:pt x="2017070" y="457200"/>
                  </a:lnTo>
                  <a:lnTo>
                    <a:pt x="2078983" y="457200"/>
                  </a:lnTo>
                  <a:lnTo>
                    <a:pt x="2117083" y="514350"/>
                  </a:lnTo>
                  <a:lnTo>
                    <a:pt x="2240908" y="371475"/>
                  </a:lnTo>
                  <a:lnTo>
                    <a:pt x="2264720" y="266700"/>
                  </a:lnTo>
                  <a:lnTo>
                    <a:pt x="2345683" y="233363"/>
                  </a:lnTo>
                  <a:lnTo>
                    <a:pt x="2440933" y="123825"/>
                  </a:lnTo>
                  <a:lnTo>
                    <a:pt x="2502845" y="142875"/>
                  </a:lnTo>
                  <a:lnTo>
                    <a:pt x="2512370" y="95250"/>
                  </a:lnTo>
                  <a:close/>
                </a:path>
              </a:pathLst>
            </a:custGeom>
            <a:solidFill>
              <a:schemeClr val="bg2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009999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1" name="_Map_Berlin">
              <a:extLst>
                <a:ext uri="{FF2B5EF4-FFF2-40B4-BE49-F238E27FC236}">
                  <a16:creationId xmlns:a16="http://schemas.microsoft.com/office/drawing/2014/main" id="{60F59D52-4CB9-49CE-AC90-3FFDA22D703F}"/>
                </a:ext>
              </a:extLst>
            </p:cNvPr>
            <p:cNvSpPr/>
            <p:nvPr>
              <p:custDataLst>
                <p:tags r:id="rId9"/>
              </p:custDataLst>
            </p:nvPr>
          </p:nvSpPr>
          <p:spPr bwMode="gray">
            <a:xfrm>
              <a:off x="8367691" y="2960077"/>
              <a:ext cx="258579" cy="216126"/>
            </a:xfrm>
            <a:custGeom>
              <a:avLst/>
              <a:gdLst>
                <a:gd name="connsiteX0" fmla="*/ 185738 w 638175"/>
                <a:gd name="connsiteY0" fmla="*/ 16669 h 533400"/>
                <a:gd name="connsiteX1" fmla="*/ 164307 w 638175"/>
                <a:gd name="connsiteY1" fmla="*/ 83344 h 533400"/>
                <a:gd name="connsiteX2" fmla="*/ 126207 w 638175"/>
                <a:gd name="connsiteY2" fmla="*/ 76200 h 533400"/>
                <a:gd name="connsiteX3" fmla="*/ 104775 w 638175"/>
                <a:gd name="connsiteY3" fmla="*/ 107157 h 533400"/>
                <a:gd name="connsiteX4" fmla="*/ 128588 w 638175"/>
                <a:gd name="connsiteY4" fmla="*/ 140494 h 533400"/>
                <a:gd name="connsiteX5" fmla="*/ 64294 w 638175"/>
                <a:gd name="connsiteY5" fmla="*/ 123825 h 533400"/>
                <a:gd name="connsiteX6" fmla="*/ 40482 w 638175"/>
                <a:gd name="connsiteY6" fmla="*/ 138113 h 533400"/>
                <a:gd name="connsiteX7" fmla="*/ 61913 w 638175"/>
                <a:gd name="connsiteY7" fmla="*/ 190500 h 533400"/>
                <a:gd name="connsiteX8" fmla="*/ 19050 w 638175"/>
                <a:gd name="connsiteY8" fmla="*/ 247650 h 533400"/>
                <a:gd name="connsiteX9" fmla="*/ 71438 w 638175"/>
                <a:gd name="connsiteY9" fmla="*/ 254794 h 533400"/>
                <a:gd name="connsiteX10" fmla="*/ 14288 w 638175"/>
                <a:gd name="connsiteY10" fmla="*/ 326232 h 533400"/>
                <a:gd name="connsiteX11" fmla="*/ 35719 w 638175"/>
                <a:gd name="connsiteY11" fmla="*/ 361950 h 533400"/>
                <a:gd name="connsiteX12" fmla="*/ 0 w 638175"/>
                <a:gd name="connsiteY12" fmla="*/ 397669 h 533400"/>
                <a:gd name="connsiteX13" fmla="*/ 33338 w 638175"/>
                <a:gd name="connsiteY13" fmla="*/ 461963 h 533400"/>
                <a:gd name="connsiteX14" fmla="*/ 73819 w 638175"/>
                <a:gd name="connsiteY14" fmla="*/ 435769 h 533400"/>
                <a:gd name="connsiteX15" fmla="*/ 147638 w 638175"/>
                <a:gd name="connsiteY15" fmla="*/ 397669 h 533400"/>
                <a:gd name="connsiteX16" fmla="*/ 157163 w 638175"/>
                <a:gd name="connsiteY16" fmla="*/ 431007 h 533400"/>
                <a:gd name="connsiteX17" fmla="*/ 207169 w 638175"/>
                <a:gd name="connsiteY17" fmla="*/ 409575 h 533400"/>
                <a:gd name="connsiteX18" fmla="*/ 214313 w 638175"/>
                <a:gd name="connsiteY18" fmla="*/ 433388 h 533400"/>
                <a:gd name="connsiteX19" fmla="*/ 242888 w 638175"/>
                <a:gd name="connsiteY19" fmla="*/ 411957 h 533400"/>
                <a:gd name="connsiteX20" fmla="*/ 297657 w 638175"/>
                <a:gd name="connsiteY20" fmla="*/ 469107 h 533400"/>
                <a:gd name="connsiteX21" fmla="*/ 319088 w 638175"/>
                <a:gd name="connsiteY21" fmla="*/ 464344 h 533400"/>
                <a:gd name="connsiteX22" fmla="*/ 314325 w 638175"/>
                <a:gd name="connsiteY22" fmla="*/ 414338 h 533400"/>
                <a:gd name="connsiteX23" fmla="*/ 352425 w 638175"/>
                <a:gd name="connsiteY23" fmla="*/ 397669 h 533400"/>
                <a:gd name="connsiteX24" fmla="*/ 359569 w 638175"/>
                <a:gd name="connsiteY24" fmla="*/ 435769 h 533400"/>
                <a:gd name="connsiteX25" fmla="*/ 419100 w 638175"/>
                <a:gd name="connsiteY25" fmla="*/ 428625 h 533400"/>
                <a:gd name="connsiteX26" fmla="*/ 428625 w 638175"/>
                <a:gd name="connsiteY26" fmla="*/ 457200 h 533400"/>
                <a:gd name="connsiteX27" fmla="*/ 485775 w 638175"/>
                <a:gd name="connsiteY27" fmla="*/ 452438 h 533400"/>
                <a:gd name="connsiteX28" fmla="*/ 526257 w 638175"/>
                <a:gd name="connsiteY28" fmla="*/ 466725 h 533400"/>
                <a:gd name="connsiteX29" fmla="*/ 526257 w 638175"/>
                <a:gd name="connsiteY29" fmla="*/ 533400 h 533400"/>
                <a:gd name="connsiteX30" fmla="*/ 581025 w 638175"/>
                <a:gd name="connsiteY30" fmla="*/ 473869 h 533400"/>
                <a:gd name="connsiteX31" fmla="*/ 573882 w 638175"/>
                <a:gd name="connsiteY31" fmla="*/ 442913 h 533400"/>
                <a:gd name="connsiteX32" fmla="*/ 616744 w 638175"/>
                <a:gd name="connsiteY32" fmla="*/ 423863 h 533400"/>
                <a:gd name="connsiteX33" fmla="*/ 611982 w 638175"/>
                <a:gd name="connsiteY33" fmla="*/ 371475 h 533400"/>
                <a:gd name="connsiteX34" fmla="*/ 638175 w 638175"/>
                <a:gd name="connsiteY34" fmla="*/ 371475 h 533400"/>
                <a:gd name="connsiteX35" fmla="*/ 638175 w 638175"/>
                <a:gd name="connsiteY35" fmla="*/ 342900 h 533400"/>
                <a:gd name="connsiteX36" fmla="*/ 581025 w 638175"/>
                <a:gd name="connsiteY36" fmla="*/ 326232 h 533400"/>
                <a:gd name="connsiteX37" fmla="*/ 519113 w 638175"/>
                <a:gd name="connsiteY37" fmla="*/ 309563 h 533400"/>
                <a:gd name="connsiteX38" fmla="*/ 495300 w 638175"/>
                <a:gd name="connsiteY38" fmla="*/ 321469 h 533400"/>
                <a:gd name="connsiteX39" fmla="*/ 511969 w 638175"/>
                <a:gd name="connsiteY39" fmla="*/ 254794 h 533400"/>
                <a:gd name="connsiteX40" fmla="*/ 542925 w 638175"/>
                <a:gd name="connsiteY40" fmla="*/ 226219 h 533400"/>
                <a:gd name="connsiteX41" fmla="*/ 509588 w 638175"/>
                <a:gd name="connsiteY41" fmla="*/ 200025 h 533400"/>
                <a:gd name="connsiteX42" fmla="*/ 457200 w 638175"/>
                <a:gd name="connsiteY42" fmla="*/ 195263 h 533400"/>
                <a:gd name="connsiteX43" fmla="*/ 461963 w 638175"/>
                <a:gd name="connsiteY43" fmla="*/ 159544 h 533400"/>
                <a:gd name="connsiteX44" fmla="*/ 395288 w 638175"/>
                <a:gd name="connsiteY44" fmla="*/ 126207 h 533400"/>
                <a:gd name="connsiteX45" fmla="*/ 378619 w 638175"/>
                <a:gd name="connsiteY45" fmla="*/ 95250 h 533400"/>
                <a:gd name="connsiteX46" fmla="*/ 407194 w 638175"/>
                <a:gd name="connsiteY46" fmla="*/ 54769 h 533400"/>
                <a:gd name="connsiteX47" fmla="*/ 373857 w 638175"/>
                <a:gd name="connsiteY47" fmla="*/ 28575 h 533400"/>
                <a:gd name="connsiteX48" fmla="*/ 378619 w 638175"/>
                <a:gd name="connsiteY48" fmla="*/ 0 h 533400"/>
                <a:gd name="connsiteX49" fmla="*/ 345282 w 638175"/>
                <a:gd name="connsiteY49" fmla="*/ 0 h 533400"/>
                <a:gd name="connsiteX50" fmla="*/ 335757 w 638175"/>
                <a:gd name="connsiteY50" fmla="*/ 26194 h 533400"/>
                <a:gd name="connsiteX51" fmla="*/ 352425 w 638175"/>
                <a:gd name="connsiteY51" fmla="*/ 42863 h 533400"/>
                <a:gd name="connsiteX52" fmla="*/ 319088 w 638175"/>
                <a:gd name="connsiteY52" fmla="*/ 59532 h 533400"/>
                <a:gd name="connsiteX53" fmla="*/ 290513 w 638175"/>
                <a:gd name="connsiteY53" fmla="*/ 42863 h 533400"/>
                <a:gd name="connsiteX54" fmla="*/ 259557 w 638175"/>
                <a:gd name="connsiteY54" fmla="*/ 88107 h 533400"/>
                <a:gd name="connsiteX55" fmla="*/ 204788 w 638175"/>
                <a:gd name="connsiteY55" fmla="*/ 80963 h 533400"/>
                <a:gd name="connsiteX56" fmla="*/ 185738 w 638175"/>
                <a:gd name="connsiteY56" fmla="*/ 16669 h 53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638175" h="533400">
                  <a:moveTo>
                    <a:pt x="185738" y="16669"/>
                  </a:moveTo>
                  <a:lnTo>
                    <a:pt x="164307" y="83344"/>
                  </a:lnTo>
                  <a:lnTo>
                    <a:pt x="126207" y="76200"/>
                  </a:lnTo>
                  <a:lnTo>
                    <a:pt x="104775" y="107157"/>
                  </a:lnTo>
                  <a:lnTo>
                    <a:pt x="128588" y="140494"/>
                  </a:lnTo>
                  <a:lnTo>
                    <a:pt x="64294" y="123825"/>
                  </a:lnTo>
                  <a:lnTo>
                    <a:pt x="40482" y="138113"/>
                  </a:lnTo>
                  <a:lnTo>
                    <a:pt x="61913" y="190500"/>
                  </a:lnTo>
                  <a:lnTo>
                    <a:pt x="19050" y="247650"/>
                  </a:lnTo>
                  <a:lnTo>
                    <a:pt x="71438" y="254794"/>
                  </a:lnTo>
                  <a:lnTo>
                    <a:pt x="14288" y="326232"/>
                  </a:lnTo>
                  <a:lnTo>
                    <a:pt x="35719" y="361950"/>
                  </a:lnTo>
                  <a:lnTo>
                    <a:pt x="0" y="397669"/>
                  </a:lnTo>
                  <a:lnTo>
                    <a:pt x="33338" y="461963"/>
                  </a:lnTo>
                  <a:lnTo>
                    <a:pt x="73819" y="435769"/>
                  </a:lnTo>
                  <a:lnTo>
                    <a:pt x="147638" y="397669"/>
                  </a:lnTo>
                  <a:lnTo>
                    <a:pt x="157163" y="431007"/>
                  </a:lnTo>
                  <a:lnTo>
                    <a:pt x="207169" y="409575"/>
                  </a:lnTo>
                  <a:lnTo>
                    <a:pt x="214313" y="433388"/>
                  </a:lnTo>
                  <a:lnTo>
                    <a:pt x="242888" y="411957"/>
                  </a:lnTo>
                  <a:lnTo>
                    <a:pt x="297657" y="469107"/>
                  </a:lnTo>
                  <a:lnTo>
                    <a:pt x="319088" y="464344"/>
                  </a:lnTo>
                  <a:lnTo>
                    <a:pt x="314325" y="414338"/>
                  </a:lnTo>
                  <a:lnTo>
                    <a:pt x="352425" y="397669"/>
                  </a:lnTo>
                  <a:lnTo>
                    <a:pt x="359569" y="435769"/>
                  </a:lnTo>
                  <a:lnTo>
                    <a:pt x="419100" y="428625"/>
                  </a:lnTo>
                  <a:lnTo>
                    <a:pt x="428625" y="457200"/>
                  </a:lnTo>
                  <a:lnTo>
                    <a:pt x="485775" y="452438"/>
                  </a:lnTo>
                  <a:lnTo>
                    <a:pt x="526257" y="466725"/>
                  </a:lnTo>
                  <a:lnTo>
                    <a:pt x="526257" y="533400"/>
                  </a:lnTo>
                  <a:lnTo>
                    <a:pt x="581025" y="473869"/>
                  </a:lnTo>
                  <a:lnTo>
                    <a:pt x="573882" y="442913"/>
                  </a:lnTo>
                  <a:lnTo>
                    <a:pt x="616744" y="423863"/>
                  </a:lnTo>
                  <a:lnTo>
                    <a:pt x="611982" y="371475"/>
                  </a:lnTo>
                  <a:lnTo>
                    <a:pt x="638175" y="371475"/>
                  </a:lnTo>
                  <a:lnTo>
                    <a:pt x="638175" y="342900"/>
                  </a:lnTo>
                  <a:lnTo>
                    <a:pt x="581025" y="326232"/>
                  </a:lnTo>
                  <a:lnTo>
                    <a:pt x="519113" y="309563"/>
                  </a:lnTo>
                  <a:lnTo>
                    <a:pt x="495300" y="321469"/>
                  </a:lnTo>
                  <a:lnTo>
                    <a:pt x="511969" y="254794"/>
                  </a:lnTo>
                  <a:lnTo>
                    <a:pt x="542925" y="226219"/>
                  </a:lnTo>
                  <a:lnTo>
                    <a:pt x="509588" y="200025"/>
                  </a:lnTo>
                  <a:lnTo>
                    <a:pt x="457200" y="195263"/>
                  </a:lnTo>
                  <a:lnTo>
                    <a:pt x="461963" y="159544"/>
                  </a:lnTo>
                  <a:lnTo>
                    <a:pt x="395288" y="126207"/>
                  </a:lnTo>
                  <a:lnTo>
                    <a:pt x="378619" y="95250"/>
                  </a:lnTo>
                  <a:lnTo>
                    <a:pt x="407194" y="54769"/>
                  </a:lnTo>
                  <a:lnTo>
                    <a:pt x="373857" y="28575"/>
                  </a:lnTo>
                  <a:lnTo>
                    <a:pt x="378619" y="0"/>
                  </a:lnTo>
                  <a:lnTo>
                    <a:pt x="345282" y="0"/>
                  </a:lnTo>
                  <a:lnTo>
                    <a:pt x="335757" y="26194"/>
                  </a:lnTo>
                  <a:lnTo>
                    <a:pt x="352425" y="42863"/>
                  </a:lnTo>
                  <a:lnTo>
                    <a:pt x="319088" y="59532"/>
                  </a:lnTo>
                  <a:lnTo>
                    <a:pt x="290513" y="42863"/>
                  </a:lnTo>
                  <a:lnTo>
                    <a:pt x="259557" y="88107"/>
                  </a:lnTo>
                  <a:lnTo>
                    <a:pt x="204788" y="80963"/>
                  </a:lnTo>
                  <a:lnTo>
                    <a:pt x="185738" y="16669"/>
                  </a:lnTo>
                  <a:close/>
                </a:path>
              </a:pathLst>
            </a:custGeom>
            <a:solidFill>
              <a:srgbClr val="D3242E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2" name="_Map_Niedersachsen">
              <a:extLst>
                <a:ext uri="{FF2B5EF4-FFF2-40B4-BE49-F238E27FC236}">
                  <a16:creationId xmlns:a16="http://schemas.microsoft.com/office/drawing/2014/main" id="{68EE0A3A-59B4-4B40-92BE-BBD311E8B709}"/>
                </a:ext>
              </a:extLst>
            </p:cNvPr>
            <p:cNvSpPr/>
            <p:nvPr>
              <p:custDataLst>
                <p:tags r:id="rId10"/>
              </p:custDataLst>
            </p:nvPr>
          </p:nvSpPr>
          <p:spPr bwMode="gray">
            <a:xfrm>
              <a:off x="5878779" y="2165444"/>
              <a:ext cx="1907189" cy="1660617"/>
            </a:xfrm>
            <a:custGeom>
              <a:avLst/>
              <a:gdLst>
                <a:gd name="connsiteX0" fmla="*/ 1789716 w 4706948"/>
                <a:gd name="connsiteY0" fmla="*/ 1096762 h 4098402"/>
                <a:gd name="connsiteX1" fmla="*/ 1765904 w 4706948"/>
                <a:gd name="connsiteY1" fmla="*/ 1103906 h 4098402"/>
                <a:gd name="connsiteX2" fmla="*/ 1792097 w 4706948"/>
                <a:gd name="connsiteY2" fmla="*/ 1156293 h 4098402"/>
                <a:gd name="connsiteX3" fmla="*/ 1877822 w 4706948"/>
                <a:gd name="connsiteY3" fmla="*/ 1184866 h 4098402"/>
                <a:gd name="connsiteX4" fmla="*/ 1918304 w 4706948"/>
                <a:gd name="connsiteY4" fmla="*/ 1265830 h 4098402"/>
                <a:gd name="connsiteX5" fmla="*/ 1946879 w 4706948"/>
                <a:gd name="connsiteY5" fmla="*/ 1320599 h 4098402"/>
                <a:gd name="connsiteX6" fmla="*/ 1970691 w 4706948"/>
                <a:gd name="connsiteY6" fmla="*/ 1320599 h 4098402"/>
                <a:gd name="connsiteX7" fmla="*/ 1977835 w 4706948"/>
                <a:gd name="connsiteY7" fmla="*/ 1401562 h 4098402"/>
                <a:gd name="connsiteX8" fmla="*/ 2034985 w 4706948"/>
                <a:gd name="connsiteY8" fmla="*/ 1375368 h 4098402"/>
                <a:gd name="connsiteX9" fmla="*/ 2101660 w 4706948"/>
                <a:gd name="connsiteY9" fmla="*/ 1430137 h 4098402"/>
                <a:gd name="connsiteX10" fmla="*/ 2132616 w 4706948"/>
                <a:gd name="connsiteY10" fmla="*/ 1384893 h 4098402"/>
                <a:gd name="connsiteX11" fmla="*/ 2175479 w 4706948"/>
                <a:gd name="connsiteY11" fmla="*/ 1444424 h 4098402"/>
                <a:gd name="connsiteX12" fmla="*/ 2230248 w 4706948"/>
                <a:gd name="connsiteY12" fmla="*/ 1382512 h 4098402"/>
                <a:gd name="connsiteX13" fmla="*/ 2220723 w 4706948"/>
                <a:gd name="connsiteY13" fmla="*/ 1315837 h 4098402"/>
                <a:gd name="connsiteX14" fmla="*/ 2239773 w 4706948"/>
                <a:gd name="connsiteY14" fmla="*/ 1299168 h 4098402"/>
                <a:gd name="connsiteX15" fmla="*/ 2211198 w 4706948"/>
                <a:gd name="connsiteY15" fmla="*/ 1265830 h 4098402"/>
                <a:gd name="connsiteX16" fmla="*/ 2239773 w 4706948"/>
                <a:gd name="connsiteY16" fmla="*/ 1253924 h 4098402"/>
                <a:gd name="connsiteX17" fmla="*/ 2211198 w 4706948"/>
                <a:gd name="connsiteY17" fmla="*/ 1203918 h 4098402"/>
                <a:gd name="connsiteX18" fmla="*/ 2170716 w 4706948"/>
                <a:gd name="connsiteY18" fmla="*/ 1239637 h 4098402"/>
                <a:gd name="connsiteX19" fmla="*/ 2132616 w 4706948"/>
                <a:gd name="connsiteY19" fmla="*/ 1242018 h 4098402"/>
                <a:gd name="connsiteX20" fmla="*/ 2104041 w 4706948"/>
                <a:gd name="connsiteY20" fmla="*/ 1189630 h 4098402"/>
                <a:gd name="connsiteX21" fmla="*/ 2032604 w 4706948"/>
                <a:gd name="connsiteY21" fmla="*/ 1192012 h 4098402"/>
                <a:gd name="connsiteX22" fmla="*/ 1989741 w 4706948"/>
                <a:gd name="connsiteY22" fmla="*/ 1161055 h 4098402"/>
                <a:gd name="connsiteX23" fmla="*/ 1956404 w 4706948"/>
                <a:gd name="connsiteY23" fmla="*/ 1172962 h 4098402"/>
                <a:gd name="connsiteX24" fmla="*/ 1913541 w 4706948"/>
                <a:gd name="connsiteY24" fmla="*/ 1144387 h 4098402"/>
                <a:gd name="connsiteX25" fmla="*/ 1873060 w 4706948"/>
                <a:gd name="connsiteY25" fmla="*/ 1149149 h 4098402"/>
                <a:gd name="connsiteX26" fmla="*/ 1875441 w 4706948"/>
                <a:gd name="connsiteY26" fmla="*/ 1122955 h 4098402"/>
                <a:gd name="connsiteX27" fmla="*/ 1863535 w 4706948"/>
                <a:gd name="connsiteY27" fmla="*/ 1103905 h 4098402"/>
                <a:gd name="connsiteX28" fmla="*/ 1832579 w 4706948"/>
                <a:gd name="connsiteY28" fmla="*/ 1118193 h 4098402"/>
                <a:gd name="connsiteX29" fmla="*/ 1789716 w 4706948"/>
                <a:gd name="connsiteY29" fmla="*/ 1096762 h 4098402"/>
                <a:gd name="connsiteX30" fmla="*/ 1911160 w 4706948"/>
                <a:gd name="connsiteY30" fmla="*/ 470492 h 4098402"/>
                <a:gd name="connsiteX31" fmla="*/ 1868298 w 4706948"/>
                <a:gd name="connsiteY31" fmla="*/ 506211 h 4098402"/>
                <a:gd name="connsiteX32" fmla="*/ 1832579 w 4706948"/>
                <a:gd name="connsiteY32" fmla="*/ 484779 h 4098402"/>
                <a:gd name="connsiteX33" fmla="*/ 1813529 w 4706948"/>
                <a:gd name="connsiteY33" fmla="*/ 477636 h 4098402"/>
                <a:gd name="connsiteX34" fmla="*/ 1758760 w 4706948"/>
                <a:gd name="connsiteY34" fmla="*/ 496686 h 4098402"/>
                <a:gd name="connsiteX35" fmla="*/ 1784954 w 4706948"/>
                <a:gd name="connsiteY35" fmla="*/ 560979 h 4098402"/>
                <a:gd name="connsiteX36" fmla="*/ 1839723 w 4706948"/>
                <a:gd name="connsiteY36" fmla="*/ 601461 h 4098402"/>
                <a:gd name="connsiteX37" fmla="*/ 1823054 w 4706948"/>
                <a:gd name="connsiteY37" fmla="*/ 627654 h 4098402"/>
                <a:gd name="connsiteX38" fmla="*/ 1756379 w 4706948"/>
                <a:gd name="connsiteY38" fmla="*/ 687186 h 4098402"/>
                <a:gd name="connsiteX39" fmla="*/ 1775429 w 4706948"/>
                <a:gd name="connsiteY39" fmla="*/ 713379 h 4098402"/>
                <a:gd name="connsiteX40" fmla="*/ 1851629 w 4706948"/>
                <a:gd name="connsiteY40" fmla="*/ 672898 h 4098402"/>
                <a:gd name="connsiteX41" fmla="*/ 1904016 w 4706948"/>
                <a:gd name="connsiteY41" fmla="*/ 680042 h 4098402"/>
                <a:gd name="connsiteX42" fmla="*/ 1920685 w 4706948"/>
                <a:gd name="connsiteY42" fmla="*/ 637179 h 4098402"/>
                <a:gd name="connsiteX43" fmla="*/ 1901635 w 4706948"/>
                <a:gd name="connsiteY43" fmla="*/ 610986 h 4098402"/>
                <a:gd name="connsiteX44" fmla="*/ 1918304 w 4706948"/>
                <a:gd name="connsiteY44" fmla="*/ 582411 h 4098402"/>
                <a:gd name="connsiteX45" fmla="*/ 1901635 w 4706948"/>
                <a:gd name="connsiteY45" fmla="*/ 556217 h 4098402"/>
                <a:gd name="connsiteX46" fmla="*/ 1892110 w 4706948"/>
                <a:gd name="connsiteY46" fmla="*/ 537167 h 4098402"/>
                <a:gd name="connsiteX47" fmla="*/ 1930210 w 4706948"/>
                <a:gd name="connsiteY47" fmla="*/ 501448 h 4098402"/>
                <a:gd name="connsiteX48" fmla="*/ 1913869 w 4706948"/>
                <a:gd name="connsiteY48" fmla="*/ 0 h 4098402"/>
                <a:gd name="connsiteX49" fmla="*/ 1976619 w 4706948"/>
                <a:gd name="connsiteY49" fmla="*/ 125500 h 4098402"/>
                <a:gd name="connsiteX50" fmla="*/ 2290368 w 4706948"/>
                <a:gd name="connsiteY50" fmla="*/ 109812 h 4098402"/>
                <a:gd name="connsiteX51" fmla="*/ 2497187 w 4706948"/>
                <a:gd name="connsiteY51" fmla="*/ 95040 h 4098402"/>
                <a:gd name="connsiteX52" fmla="*/ 2497595 w 4706948"/>
                <a:gd name="connsiteY52" fmla="*/ 96784 h 4098402"/>
                <a:gd name="connsiteX53" fmla="*/ 2627847 w 4706948"/>
                <a:gd name="connsiteY53" fmla="*/ 168087 h 4098402"/>
                <a:gd name="connsiteX54" fmla="*/ 2789248 w 4706948"/>
                <a:gd name="connsiteY54" fmla="*/ 459852 h 4098402"/>
                <a:gd name="connsiteX55" fmla="*/ 2947651 w 4706948"/>
                <a:gd name="connsiteY55" fmla="*/ 534885 h 4098402"/>
                <a:gd name="connsiteX56" fmla="*/ 2937679 w 4706948"/>
                <a:gd name="connsiteY56" fmla="*/ 563039 h 4098402"/>
                <a:gd name="connsiteX57" fmla="*/ 2992448 w 4706948"/>
                <a:gd name="connsiteY57" fmla="*/ 579707 h 4098402"/>
                <a:gd name="connsiteX58" fmla="*/ 2985304 w 4706948"/>
                <a:gd name="connsiteY58" fmla="*/ 622570 h 4098402"/>
                <a:gd name="connsiteX59" fmla="*/ 2978161 w 4706948"/>
                <a:gd name="connsiteY59" fmla="*/ 641620 h 4098402"/>
                <a:gd name="connsiteX60" fmla="*/ 2992448 w 4706948"/>
                <a:gd name="connsiteY60" fmla="*/ 667814 h 4098402"/>
                <a:gd name="connsiteX61" fmla="*/ 3013879 w 4706948"/>
                <a:gd name="connsiteY61" fmla="*/ 660670 h 4098402"/>
                <a:gd name="connsiteX62" fmla="*/ 3016261 w 4706948"/>
                <a:gd name="connsiteY62" fmla="*/ 708295 h 4098402"/>
                <a:gd name="connsiteX63" fmla="*/ 3071029 w 4706948"/>
                <a:gd name="connsiteY63" fmla="*/ 767826 h 4098402"/>
                <a:gd name="connsiteX64" fmla="*/ 3101986 w 4706948"/>
                <a:gd name="connsiteY64" fmla="*/ 729726 h 4098402"/>
                <a:gd name="connsiteX65" fmla="*/ 3121036 w 4706948"/>
                <a:gd name="connsiteY65" fmla="*/ 751157 h 4098402"/>
                <a:gd name="connsiteX66" fmla="*/ 3123417 w 4706948"/>
                <a:gd name="connsiteY66" fmla="*/ 794020 h 4098402"/>
                <a:gd name="connsiteX67" fmla="*/ 3154373 w 4706948"/>
                <a:gd name="connsiteY67" fmla="*/ 774970 h 4098402"/>
                <a:gd name="connsiteX68" fmla="*/ 3182948 w 4706948"/>
                <a:gd name="connsiteY68" fmla="*/ 805926 h 4098402"/>
                <a:gd name="connsiteX69" fmla="*/ 3223429 w 4706948"/>
                <a:gd name="connsiteY69" fmla="*/ 767826 h 4098402"/>
                <a:gd name="connsiteX70" fmla="*/ 3249623 w 4706948"/>
                <a:gd name="connsiteY70" fmla="*/ 720201 h 4098402"/>
                <a:gd name="connsiteX71" fmla="*/ 3311536 w 4706948"/>
                <a:gd name="connsiteY71" fmla="*/ 784495 h 4098402"/>
                <a:gd name="connsiteX72" fmla="*/ 3347254 w 4706948"/>
                <a:gd name="connsiteY72" fmla="*/ 834501 h 4098402"/>
                <a:gd name="connsiteX73" fmla="*/ 3437742 w 4706948"/>
                <a:gd name="connsiteY73" fmla="*/ 834501 h 4098402"/>
                <a:gd name="connsiteX74" fmla="*/ 3452029 w 4706948"/>
                <a:gd name="connsiteY74" fmla="*/ 794020 h 4098402"/>
                <a:gd name="connsiteX75" fmla="*/ 3468679 w 4706948"/>
                <a:gd name="connsiteY75" fmla="*/ 781687 h 4098402"/>
                <a:gd name="connsiteX76" fmla="*/ 3513148 w 4706948"/>
                <a:gd name="connsiteY76" fmla="*/ 802751 h 4098402"/>
                <a:gd name="connsiteX77" fmla="*/ 3790972 w 4706948"/>
                <a:gd name="connsiteY77" fmla="*/ 889186 h 4098402"/>
                <a:gd name="connsiteX78" fmla="*/ 3791754 w 4706948"/>
                <a:gd name="connsiteY78" fmla="*/ 890065 h 4098402"/>
                <a:gd name="connsiteX79" fmla="*/ 3792878 w 4706948"/>
                <a:gd name="connsiteY79" fmla="*/ 889779 h 4098402"/>
                <a:gd name="connsiteX80" fmla="*/ 3798898 w 4706948"/>
                <a:gd name="connsiteY80" fmla="*/ 891651 h 4098402"/>
                <a:gd name="connsiteX81" fmla="*/ 3799320 w 4706948"/>
                <a:gd name="connsiteY81" fmla="*/ 888135 h 4098402"/>
                <a:gd name="connsiteX82" fmla="*/ 3869541 w 4706948"/>
                <a:gd name="connsiteY82" fmla="*/ 870221 h 4098402"/>
                <a:gd name="connsiteX83" fmla="*/ 3976698 w 4706948"/>
                <a:gd name="connsiteY83" fmla="*/ 986902 h 4098402"/>
                <a:gd name="connsiteX84" fmla="*/ 4084648 w 4706948"/>
                <a:gd name="connsiteY84" fmla="*/ 910703 h 4098402"/>
                <a:gd name="connsiteX85" fmla="*/ 4141798 w 4706948"/>
                <a:gd name="connsiteY85" fmla="*/ 923402 h 4098402"/>
                <a:gd name="connsiteX86" fmla="*/ 4186248 w 4706948"/>
                <a:gd name="connsiteY86" fmla="*/ 1056752 h 4098402"/>
                <a:gd name="connsiteX87" fmla="*/ 4313248 w 4706948"/>
                <a:gd name="connsiteY87" fmla="*/ 1171052 h 4098402"/>
                <a:gd name="connsiteX88" fmla="*/ 4325948 w 4706948"/>
                <a:gd name="connsiteY88" fmla="*/ 1259953 h 4098402"/>
                <a:gd name="connsiteX89" fmla="*/ 4465648 w 4706948"/>
                <a:gd name="connsiteY89" fmla="*/ 1393302 h 4098402"/>
                <a:gd name="connsiteX90" fmla="*/ 4573598 w 4706948"/>
                <a:gd name="connsiteY90" fmla="*/ 1336152 h 4098402"/>
                <a:gd name="connsiteX91" fmla="*/ 4618048 w 4706948"/>
                <a:gd name="connsiteY91" fmla="*/ 1367902 h 4098402"/>
                <a:gd name="connsiteX92" fmla="*/ 4706948 w 4706948"/>
                <a:gd name="connsiteY92" fmla="*/ 1393302 h 4098402"/>
                <a:gd name="connsiteX93" fmla="*/ 4649798 w 4706948"/>
                <a:gd name="connsiteY93" fmla="*/ 1450452 h 4098402"/>
                <a:gd name="connsiteX94" fmla="*/ 4618048 w 4706948"/>
                <a:gd name="connsiteY94" fmla="*/ 1545702 h 4098402"/>
                <a:gd name="connsiteX95" fmla="*/ 4427548 w 4706948"/>
                <a:gd name="connsiteY95" fmla="*/ 1666352 h 4098402"/>
                <a:gd name="connsiteX96" fmla="*/ 4256098 w 4706948"/>
                <a:gd name="connsiteY96" fmla="*/ 1640952 h 4098402"/>
                <a:gd name="connsiteX97" fmla="*/ 4243398 w 4706948"/>
                <a:gd name="connsiteY97" fmla="*/ 1590152 h 4098402"/>
                <a:gd name="connsiteX98" fmla="*/ 4148148 w 4706948"/>
                <a:gd name="connsiteY98" fmla="*/ 1596503 h 4098402"/>
                <a:gd name="connsiteX99" fmla="*/ 4103698 w 4706948"/>
                <a:gd name="connsiteY99" fmla="*/ 1691752 h 4098402"/>
                <a:gd name="connsiteX100" fmla="*/ 3932248 w 4706948"/>
                <a:gd name="connsiteY100" fmla="*/ 1710802 h 4098402"/>
                <a:gd name="connsiteX101" fmla="*/ 3944948 w 4706948"/>
                <a:gd name="connsiteY101" fmla="*/ 1863202 h 4098402"/>
                <a:gd name="connsiteX102" fmla="*/ 4071948 w 4706948"/>
                <a:gd name="connsiteY102" fmla="*/ 2072752 h 4098402"/>
                <a:gd name="connsiteX103" fmla="*/ 4122748 w 4706948"/>
                <a:gd name="connsiteY103" fmla="*/ 2021952 h 4098402"/>
                <a:gd name="connsiteX104" fmla="*/ 4122748 w 4706948"/>
                <a:gd name="connsiteY104" fmla="*/ 2053702 h 4098402"/>
                <a:gd name="connsiteX105" fmla="*/ 4097348 w 4706948"/>
                <a:gd name="connsiteY105" fmla="*/ 2123552 h 4098402"/>
                <a:gd name="connsiteX106" fmla="*/ 4154498 w 4706948"/>
                <a:gd name="connsiteY106" fmla="*/ 2244202 h 4098402"/>
                <a:gd name="connsiteX107" fmla="*/ 4129098 w 4706948"/>
                <a:gd name="connsiteY107" fmla="*/ 2250552 h 4098402"/>
                <a:gd name="connsiteX108" fmla="*/ 4090998 w 4706948"/>
                <a:gd name="connsiteY108" fmla="*/ 2288652 h 4098402"/>
                <a:gd name="connsiteX109" fmla="*/ 4230698 w 4706948"/>
                <a:gd name="connsiteY109" fmla="*/ 2466452 h 4098402"/>
                <a:gd name="connsiteX110" fmla="*/ 4148148 w 4706948"/>
                <a:gd name="connsiteY110" fmla="*/ 2498202 h 4098402"/>
                <a:gd name="connsiteX111" fmla="*/ 4198948 w 4706948"/>
                <a:gd name="connsiteY111" fmla="*/ 2542652 h 4098402"/>
                <a:gd name="connsiteX112" fmla="*/ 4179898 w 4706948"/>
                <a:gd name="connsiteY112" fmla="*/ 2587102 h 4098402"/>
                <a:gd name="connsiteX113" fmla="*/ 4237048 w 4706948"/>
                <a:gd name="connsiteY113" fmla="*/ 2644252 h 4098402"/>
                <a:gd name="connsiteX114" fmla="*/ 4154498 w 4706948"/>
                <a:gd name="connsiteY114" fmla="*/ 2758552 h 4098402"/>
                <a:gd name="connsiteX115" fmla="*/ 4205298 w 4706948"/>
                <a:gd name="connsiteY115" fmla="*/ 2796652 h 4098402"/>
                <a:gd name="connsiteX116" fmla="*/ 4097348 w 4706948"/>
                <a:gd name="connsiteY116" fmla="*/ 2847452 h 4098402"/>
                <a:gd name="connsiteX117" fmla="*/ 4110048 w 4706948"/>
                <a:gd name="connsiteY117" fmla="*/ 2942702 h 4098402"/>
                <a:gd name="connsiteX118" fmla="*/ 3843348 w 4706948"/>
                <a:gd name="connsiteY118" fmla="*/ 2949052 h 4098402"/>
                <a:gd name="connsiteX119" fmla="*/ 3729048 w 4706948"/>
                <a:gd name="connsiteY119" fmla="*/ 3025252 h 4098402"/>
                <a:gd name="connsiteX120" fmla="*/ 3792548 w 4706948"/>
                <a:gd name="connsiteY120" fmla="*/ 3095102 h 4098402"/>
                <a:gd name="connsiteX121" fmla="*/ 3786198 w 4706948"/>
                <a:gd name="connsiteY121" fmla="*/ 3133202 h 4098402"/>
                <a:gd name="connsiteX122" fmla="*/ 3830648 w 4706948"/>
                <a:gd name="connsiteY122" fmla="*/ 3177652 h 4098402"/>
                <a:gd name="connsiteX123" fmla="*/ 3748098 w 4706948"/>
                <a:gd name="connsiteY123" fmla="*/ 3285602 h 4098402"/>
                <a:gd name="connsiteX124" fmla="*/ 3773498 w 4706948"/>
                <a:gd name="connsiteY124" fmla="*/ 3374502 h 4098402"/>
                <a:gd name="connsiteX125" fmla="*/ 3868748 w 4706948"/>
                <a:gd name="connsiteY125" fmla="*/ 3590402 h 4098402"/>
                <a:gd name="connsiteX126" fmla="*/ 3798898 w 4706948"/>
                <a:gd name="connsiteY126" fmla="*/ 3698352 h 4098402"/>
                <a:gd name="connsiteX127" fmla="*/ 3665548 w 4706948"/>
                <a:gd name="connsiteY127" fmla="*/ 3704702 h 4098402"/>
                <a:gd name="connsiteX128" fmla="*/ 3640148 w 4706948"/>
                <a:gd name="connsiteY128" fmla="*/ 3660252 h 4098402"/>
                <a:gd name="connsiteX129" fmla="*/ 3551248 w 4706948"/>
                <a:gd name="connsiteY129" fmla="*/ 3660252 h 4098402"/>
                <a:gd name="connsiteX130" fmla="*/ 3455998 w 4706948"/>
                <a:gd name="connsiteY130" fmla="*/ 3806302 h 4098402"/>
                <a:gd name="connsiteX131" fmla="*/ 3138498 w 4706948"/>
                <a:gd name="connsiteY131" fmla="*/ 3984102 h 4098402"/>
                <a:gd name="connsiteX132" fmla="*/ 3030548 w 4706948"/>
                <a:gd name="connsiteY132" fmla="*/ 3939652 h 4098402"/>
                <a:gd name="connsiteX133" fmla="*/ 2922598 w 4706948"/>
                <a:gd name="connsiteY133" fmla="*/ 4003152 h 4098402"/>
                <a:gd name="connsiteX134" fmla="*/ 2954348 w 4706948"/>
                <a:gd name="connsiteY134" fmla="*/ 4073002 h 4098402"/>
                <a:gd name="connsiteX135" fmla="*/ 2884498 w 4706948"/>
                <a:gd name="connsiteY135" fmla="*/ 4098402 h 4098402"/>
                <a:gd name="connsiteX136" fmla="*/ 2782898 w 4706948"/>
                <a:gd name="connsiteY136" fmla="*/ 3996802 h 4098402"/>
                <a:gd name="connsiteX137" fmla="*/ 2865448 w 4706948"/>
                <a:gd name="connsiteY137" fmla="*/ 3926952 h 4098402"/>
                <a:gd name="connsiteX138" fmla="*/ 2827348 w 4706948"/>
                <a:gd name="connsiteY138" fmla="*/ 3768202 h 4098402"/>
                <a:gd name="connsiteX139" fmla="*/ 2897198 w 4706948"/>
                <a:gd name="connsiteY139" fmla="*/ 3672952 h 4098402"/>
                <a:gd name="connsiteX140" fmla="*/ 2833698 w 4706948"/>
                <a:gd name="connsiteY140" fmla="*/ 3590402 h 4098402"/>
                <a:gd name="connsiteX141" fmla="*/ 2611448 w 4706948"/>
                <a:gd name="connsiteY141" fmla="*/ 3565002 h 4098402"/>
                <a:gd name="connsiteX142" fmla="*/ 2611448 w 4706948"/>
                <a:gd name="connsiteY142" fmla="*/ 3406253 h 4098402"/>
                <a:gd name="connsiteX143" fmla="*/ 2668598 w 4706948"/>
                <a:gd name="connsiteY143" fmla="*/ 3241152 h 4098402"/>
                <a:gd name="connsiteX144" fmla="*/ 2560648 w 4706948"/>
                <a:gd name="connsiteY144" fmla="*/ 3215752 h 4098402"/>
                <a:gd name="connsiteX145" fmla="*/ 2509848 w 4706948"/>
                <a:gd name="connsiteY145" fmla="*/ 3114152 h 4098402"/>
                <a:gd name="connsiteX146" fmla="*/ 2509848 w 4706948"/>
                <a:gd name="connsiteY146" fmla="*/ 3076052 h 4098402"/>
                <a:gd name="connsiteX147" fmla="*/ 2439998 w 4706948"/>
                <a:gd name="connsiteY147" fmla="*/ 3076052 h 4098402"/>
                <a:gd name="connsiteX148" fmla="*/ 2376498 w 4706948"/>
                <a:gd name="connsiteY148" fmla="*/ 2809352 h 4098402"/>
                <a:gd name="connsiteX149" fmla="*/ 2249498 w 4706948"/>
                <a:gd name="connsiteY149" fmla="*/ 2809352 h 4098402"/>
                <a:gd name="connsiteX150" fmla="*/ 2230448 w 4706948"/>
                <a:gd name="connsiteY150" fmla="*/ 2752202 h 4098402"/>
                <a:gd name="connsiteX151" fmla="*/ 2300298 w 4706948"/>
                <a:gd name="connsiteY151" fmla="*/ 2752202 h 4098402"/>
                <a:gd name="connsiteX152" fmla="*/ 2300298 w 4706948"/>
                <a:gd name="connsiteY152" fmla="*/ 2663302 h 4098402"/>
                <a:gd name="connsiteX153" fmla="*/ 2205048 w 4706948"/>
                <a:gd name="connsiteY153" fmla="*/ 2606152 h 4098402"/>
                <a:gd name="connsiteX154" fmla="*/ 2255848 w 4706948"/>
                <a:gd name="connsiteY154" fmla="*/ 2517252 h 4098402"/>
                <a:gd name="connsiteX155" fmla="*/ 2363798 w 4706948"/>
                <a:gd name="connsiteY155" fmla="*/ 2383902 h 4098402"/>
                <a:gd name="connsiteX156" fmla="*/ 2332048 w 4706948"/>
                <a:gd name="connsiteY156" fmla="*/ 2333103 h 4098402"/>
                <a:gd name="connsiteX157" fmla="*/ 2351098 w 4706948"/>
                <a:gd name="connsiteY157" fmla="*/ 2263252 h 4098402"/>
                <a:gd name="connsiteX158" fmla="*/ 2293948 w 4706948"/>
                <a:gd name="connsiteY158" fmla="*/ 2256902 h 4098402"/>
                <a:gd name="connsiteX159" fmla="*/ 2173298 w 4706948"/>
                <a:gd name="connsiteY159" fmla="*/ 2409302 h 4098402"/>
                <a:gd name="connsiteX160" fmla="*/ 1976448 w 4706948"/>
                <a:gd name="connsiteY160" fmla="*/ 2402952 h 4098402"/>
                <a:gd name="connsiteX161" fmla="*/ 1938348 w 4706948"/>
                <a:gd name="connsiteY161" fmla="*/ 2206102 h 4098402"/>
                <a:gd name="connsiteX162" fmla="*/ 1849448 w 4706948"/>
                <a:gd name="connsiteY162" fmla="*/ 2250552 h 4098402"/>
                <a:gd name="connsiteX163" fmla="*/ 1773248 w 4706948"/>
                <a:gd name="connsiteY163" fmla="*/ 2256902 h 4098402"/>
                <a:gd name="connsiteX164" fmla="*/ 1703398 w 4706948"/>
                <a:gd name="connsiteY164" fmla="*/ 2326752 h 4098402"/>
                <a:gd name="connsiteX165" fmla="*/ 1576398 w 4706948"/>
                <a:gd name="connsiteY165" fmla="*/ 2333103 h 4098402"/>
                <a:gd name="connsiteX166" fmla="*/ 1608148 w 4706948"/>
                <a:gd name="connsiteY166" fmla="*/ 2409302 h 4098402"/>
                <a:gd name="connsiteX167" fmla="*/ 1722448 w 4706948"/>
                <a:gd name="connsiteY167" fmla="*/ 2479152 h 4098402"/>
                <a:gd name="connsiteX168" fmla="*/ 1690698 w 4706948"/>
                <a:gd name="connsiteY168" fmla="*/ 2726802 h 4098402"/>
                <a:gd name="connsiteX169" fmla="*/ 1779598 w 4706948"/>
                <a:gd name="connsiteY169" fmla="*/ 2733152 h 4098402"/>
                <a:gd name="connsiteX170" fmla="*/ 1627198 w 4706948"/>
                <a:gd name="connsiteY170" fmla="*/ 2860152 h 4098402"/>
                <a:gd name="connsiteX171" fmla="*/ 1531948 w 4706948"/>
                <a:gd name="connsiteY171" fmla="*/ 2809352 h 4098402"/>
                <a:gd name="connsiteX172" fmla="*/ 1398598 w 4706948"/>
                <a:gd name="connsiteY172" fmla="*/ 2936352 h 4098402"/>
                <a:gd name="connsiteX173" fmla="*/ 1354148 w 4706948"/>
                <a:gd name="connsiteY173" fmla="*/ 2910952 h 4098402"/>
                <a:gd name="connsiteX174" fmla="*/ 1239848 w 4706948"/>
                <a:gd name="connsiteY174" fmla="*/ 2974452 h 4098402"/>
                <a:gd name="connsiteX175" fmla="*/ 1182698 w 4706948"/>
                <a:gd name="connsiteY175" fmla="*/ 2885552 h 4098402"/>
                <a:gd name="connsiteX176" fmla="*/ 1290648 w 4706948"/>
                <a:gd name="connsiteY176" fmla="*/ 2866502 h 4098402"/>
                <a:gd name="connsiteX177" fmla="*/ 1303348 w 4706948"/>
                <a:gd name="connsiteY177" fmla="*/ 2777602 h 4098402"/>
                <a:gd name="connsiteX178" fmla="*/ 1195398 w 4706948"/>
                <a:gd name="connsiteY178" fmla="*/ 2733152 h 4098402"/>
                <a:gd name="connsiteX179" fmla="*/ 1214448 w 4706948"/>
                <a:gd name="connsiteY179" fmla="*/ 2593452 h 4098402"/>
                <a:gd name="connsiteX180" fmla="*/ 1265248 w 4706948"/>
                <a:gd name="connsiteY180" fmla="*/ 2536302 h 4098402"/>
                <a:gd name="connsiteX181" fmla="*/ 1169998 w 4706948"/>
                <a:gd name="connsiteY181" fmla="*/ 2441052 h 4098402"/>
                <a:gd name="connsiteX182" fmla="*/ 1017598 w 4706948"/>
                <a:gd name="connsiteY182" fmla="*/ 2402952 h 4098402"/>
                <a:gd name="connsiteX183" fmla="*/ 979498 w 4706948"/>
                <a:gd name="connsiteY183" fmla="*/ 2307703 h 4098402"/>
                <a:gd name="connsiteX184" fmla="*/ 915998 w 4706948"/>
                <a:gd name="connsiteY184" fmla="*/ 2307703 h 4098402"/>
                <a:gd name="connsiteX185" fmla="*/ 884248 w 4706948"/>
                <a:gd name="connsiteY185" fmla="*/ 2358502 h 4098402"/>
                <a:gd name="connsiteX186" fmla="*/ 896948 w 4706948"/>
                <a:gd name="connsiteY186" fmla="*/ 2441052 h 4098402"/>
                <a:gd name="connsiteX187" fmla="*/ 642948 w 4706948"/>
                <a:gd name="connsiteY187" fmla="*/ 2593452 h 4098402"/>
                <a:gd name="connsiteX188" fmla="*/ 363548 w 4706948"/>
                <a:gd name="connsiteY188" fmla="*/ 2663302 h 4098402"/>
                <a:gd name="connsiteX189" fmla="*/ 352743 w 4706948"/>
                <a:gd name="connsiteY189" fmla="*/ 2657011 h 4098402"/>
                <a:gd name="connsiteX190" fmla="*/ 345124 w 4706948"/>
                <a:gd name="connsiteY190" fmla="*/ 2588434 h 4098402"/>
                <a:gd name="connsiteX191" fmla="*/ 313749 w 4706948"/>
                <a:gd name="connsiteY191" fmla="*/ 2353121 h 4098402"/>
                <a:gd name="connsiteX192" fmla="*/ 0 w 4706948"/>
                <a:gd name="connsiteY192" fmla="*/ 2306059 h 4098402"/>
                <a:gd name="connsiteX193" fmla="*/ 15687 w 4706948"/>
                <a:gd name="connsiteY193" fmla="*/ 2180559 h 4098402"/>
                <a:gd name="connsiteX194" fmla="*/ 94124 w 4706948"/>
                <a:gd name="connsiteY194" fmla="*/ 2023684 h 4098402"/>
                <a:gd name="connsiteX195" fmla="*/ 360811 w 4706948"/>
                <a:gd name="connsiteY195" fmla="*/ 1976622 h 4098402"/>
                <a:gd name="connsiteX196" fmla="*/ 345124 w 4706948"/>
                <a:gd name="connsiteY196" fmla="*/ 1662872 h 4098402"/>
                <a:gd name="connsiteX197" fmla="*/ 533373 w 4706948"/>
                <a:gd name="connsiteY197" fmla="*/ 1521685 h 4098402"/>
                <a:gd name="connsiteX198" fmla="*/ 486311 w 4706948"/>
                <a:gd name="connsiteY198" fmla="*/ 1270686 h 4098402"/>
                <a:gd name="connsiteX199" fmla="*/ 580436 w 4706948"/>
                <a:gd name="connsiteY199" fmla="*/ 956936 h 4098402"/>
                <a:gd name="connsiteX200" fmla="*/ 360811 w 4706948"/>
                <a:gd name="connsiteY200" fmla="*/ 925561 h 4098402"/>
                <a:gd name="connsiteX201" fmla="*/ 250999 w 4706948"/>
                <a:gd name="connsiteY201" fmla="*/ 705936 h 4098402"/>
                <a:gd name="connsiteX202" fmla="*/ 423561 w 4706948"/>
                <a:gd name="connsiteY202" fmla="*/ 517687 h 4098402"/>
                <a:gd name="connsiteX203" fmla="*/ 643185 w 4706948"/>
                <a:gd name="connsiteY203" fmla="*/ 360812 h 4098402"/>
                <a:gd name="connsiteX204" fmla="*/ 784372 w 4706948"/>
                <a:gd name="connsiteY204" fmla="*/ 407874 h 4098402"/>
                <a:gd name="connsiteX205" fmla="*/ 1176559 w 4706948"/>
                <a:gd name="connsiteY205" fmla="*/ 266687 h 4098402"/>
                <a:gd name="connsiteX206" fmla="*/ 1333433 w 4706948"/>
                <a:gd name="connsiteY206" fmla="*/ 298062 h 4098402"/>
                <a:gd name="connsiteX207" fmla="*/ 1427558 w 4706948"/>
                <a:gd name="connsiteY207" fmla="*/ 564749 h 4098402"/>
                <a:gd name="connsiteX208" fmla="*/ 1349121 w 4706948"/>
                <a:gd name="connsiteY208" fmla="*/ 737311 h 4098402"/>
                <a:gd name="connsiteX209" fmla="*/ 1615808 w 4706948"/>
                <a:gd name="connsiteY209" fmla="*/ 815749 h 4098402"/>
                <a:gd name="connsiteX210" fmla="*/ 1584433 w 4706948"/>
                <a:gd name="connsiteY210" fmla="*/ 643187 h 4098402"/>
                <a:gd name="connsiteX211" fmla="*/ 1505995 w 4706948"/>
                <a:gd name="connsiteY211" fmla="*/ 517687 h 4098402"/>
                <a:gd name="connsiteX212" fmla="*/ 1584433 w 4706948"/>
                <a:gd name="connsiteY212" fmla="*/ 470624 h 4098402"/>
                <a:gd name="connsiteX213" fmla="*/ 1756995 w 4706948"/>
                <a:gd name="connsiteY213" fmla="*/ 580437 h 4098402"/>
                <a:gd name="connsiteX214" fmla="*/ 1741307 w 4706948"/>
                <a:gd name="connsiteY214" fmla="*/ 376500 h 409840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  <a:cxn ang="0">
                  <a:pos x="connsiteX184" y="connsiteY184"/>
                </a:cxn>
                <a:cxn ang="0">
                  <a:pos x="connsiteX185" y="connsiteY185"/>
                </a:cxn>
                <a:cxn ang="0">
                  <a:pos x="connsiteX186" y="connsiteY186"/>
                </a:cxn>
                <a:cxn ang="0">
                  <a:pos x="connsiteX187" y="connsiteY187"/>
                </a:cxn>
                <a:cxn ang="0">
                  <a:pos x="connsiteX188" y="connsiteY188"/>
                </a:cxn>
                <a:cxn ang="0">
                  <a:pos x="connsiteX189" y="connsiteY189"/>
                </a:cxn>
                <a:cxn ang="0">
                  <a:pos x="connsiteX190" y="connsiteY190"/>
                </a:cxn>
                <a:cxn ang="0">
                  <a:pos x="connsiteX191" y="connsiteY191"/>
                </a:cxn>
                <a:cxn ang="0">
                  <a:pos x="connsiteX192" y="connsiteY192"/>
                </a:cxn>
                <a:cxn ang="0">
                  <a:pos x="connsiteX193" y="connsiteY193"/>
                </a:cxn>
                <a:cxn ang="0">
                  <a:pos x="connsiteX194" y="connsiteY194"/>
                </a:cxn>
                <a:cxn ang="0">
                  <a:pos x="connsiteX195" y="connsiteY195"/>
                </a:cxn>
                <a:cxn ang="0">
                  <a:pos x="connsiteX196" y="connsiteY196"/>
                </a:cxn>
                <a:cxn ang="0">
                  <a:pos x="connsiteX197" y="connsiteY197"/>
                </a:cxn>
                <a:cxn ang="0">
                  <a:pos x="connsiteX198" y="connsiteY198"/>
                </a:cxn>
                <a:cxn ang="0">
                  <a:pos x="connsiteX199" y="connsiteY199"/>
                </a:cxn>
                <a:cxn ang="0">
                  <a:pos x="connsiteX200" y="connsiteY200"/>
                </a:cxn>
                <a:cxn ang="0">
                  <a:pos x="connsiteX201" y="connsiteY201"/>
                </a:cxn>
                <a:cxn ang="0">
                  <a:pos x="connsiteX202" y="connsiteY202"/>
                </a:cxn>
                <a:cxn ang="0">
                  <a:pos x="connsiteX203" y="connsiteY203"/>
                </a:cxn>
                <a:cxn ang="0">
                  <a:pos x="connsiteX204" y="connsiteY204"/>
                </a:cxn>
                <a:cxn ang="0">
                  <a:pos x="connsiteX205" y="connsiteY205"/>
                </a:cxn>
                <a:cxn ang="0">
                  <a:pos x="connsiteX206" y="connsiteY206"/>
                </a:cxn>
                <a:cxn ang="0">
                  <a:pos x="connsiteX207" y="connsiteY207"/>
                </a:cxn>
                <a:cxn ang="0">
                  <a:pos x="connsiteX208" y="connsiteY208"/>
                </a:cxn>
                <a:cxn ang="0">
                  <a:pos x="connsiteX209" y="connsiteY209"/>
                </a:cxn>
                <a:cxn ang="0">
                  <a:pos x="connsiteX210" y="connsiteY210"/>
                </a:cxn>
                <a:cxn ang="0">
                  <a:pos x="connsiteX211" y="connsiteY211"/>
                </a:cxn>
                <a:cxn ang="0">
                  <a:pos x="connsiteX212" y="connsiteY212"/>
                </a:cxn>
                <a:cxn ang="0">
                  <a:pos x="connsiteX213" y="connsiteY213"/>
                </a:cxn>
                <a:cxn ang="0">
                  <a:pos x="connsiteX214" y="connsiteY214"/>
                </a:cxn>
              </a:cxnLst>
              <a:rect l="l" t="t" r="r" b="b"/>
              <a:pathLst>
                <a:path w="4706948" h="4098402">
                  <a:moveTo>
                    <a:pt x="1789716" y="1096762"/>
                  </a:moveTo>
                  <a:lnTo>
                    <a:pt x="1765904" y="1103906"/>
                  </a:lnTo>
                  <a:lnTo>
                    <a:pt x="1792097" y="1156293"/>
                  </a:lnTo>
                  <a:lnTo>
                    <a:pt x="1877822" y="1184866"/>
                  </a:lnTo>
                  <a:lnTo>
                    <a:pt x="1918304" y="1265830"/>
                  </a:lnTo>
                  <a:lnTo>
                    <a:pt x="1946879" y="1320599"/>
                  </a:lnTo>
                  <a:lnTo>
                    <a:pt x="1970691" y="1320599"/>
                  </a:lnTo>
                  <a:lnTo>
                    <a:pt x="1977835" y="1401562"/>
                  </a:lnTo>
                  <a:lnTo>
                    <a:pt x="2034985" y="1375368"/>
                  </a:lnTo>
                  <a:lnTo>
                    <a:pt x="2101660" y="1430137"/>
                  </a:lnTo>
                  <a:lnTo>
                    <a:pt x="2132616" y="1384893"/>
                  </a:lnTo>
                  <a:lnTo>
                    <a:pt x="2175479" y="1444424"/>
                  </a:lnTo>
                  <a:lnTo>
                    <a:pt x="2230248" y="1382512"/>
                  </a:lnTo>
                  <a:lnTo>
                    <a:pt x="2220723" y="1315837"/>
                  </a:lnTo>
                  <a:lnTo>
                    <a:pt x="2239773" y="1299168"/>
                  </a:lnTo>
                  <a:lnTo>
                    <a:pt x="2211198" y="1265830"/>
                  </a:lnTo>
                  <a:lnTo>
                    <a:pt x="2239773" y="1253924"/>
                  </a:lnTo>
                  <a:lnTo>
                    <a:pt x="2211198" y="1203918"/>
                  </a:lnTo>
                  <a:lnTo>
                    <a:pt x="2170716" y="1239637"/>
                  </a:lnTo>
                  <a:lnTo>
                    <a:pt x="2132616" y="1242018"/>
                  </a:lnTo>
                  <a:lnTo>
                    <a:pt x="2104041" y="1189630"/>
                  </a:lnTo>
                  <a:lnTo>
                    <a:pt x="2032604" y="1192012"/>
                  </a:lnTo>
                  <a:lnTo>
                    <a:pt x="1989741" y="1161055"/>
                  </a:lnTo>
                  <a:lnTo>
                    <a:pt x="1956404" y="1172962"/>
                  </a:lnTo>
                  <a:cubicBezTo>
                    <a:pt x="1942116" y="1163437"/>
                    <a:pt x="1927432" y="1148356"/>
                    <a:pt x="1913541" y="1144387"/>
                  </a:cubicBezTo>
                  <a:cubicBezTo>
                    <a:pt x="1899650" y="1140418"/>
                    <a:pt x="1886554" y="1147562"/>
                    <a:pt x="1873060" y="1149149"/>
                  </a:cubicBezTo>
                  <a:lnTo>
                    <a:pt x="1875441" y="1122955"/>
                  </a:lnTo>
                  <a:lnTo>
                    <a:pt x="1863535" y="1103905"/>
                  </a:lnTo>
                  <a:lnTo>
                    <a:pt x="1832579" y="1118193"/>
                  </a:lnTo>
                  <a:cubicBezTo>
                    <a:pt x="1812735" y="1110255"/>
                    <a:pt x="1809560" y="1104700"/>
                    <a:pt x="1789716" y="1096762"/>
                  </a:cubicBezTo>
                  <a:close/>
                  <a:moveTo>
                    <a:pt x="1911160" y="470492"/>
                  </a:moveTo>
                  <a:lnTo>
                    <a:pt x="1868298" y="506211"/>
                  </a:lnTo>
                  <a:lnTo>
                    <a:pt x="1832579" y="484779"/>
                  </a:lnTo>
                  <a:lnTo>
                    <a:pt x="1813529" y="477636"/>
                  </a:lnTo>
                  <a:lnTo>
                    <a:pt x="1758760" y="496686"/>
                  </a:lnTo>
                  <a:lnTo>
                    <a:pt x="1784954" y="560979"/>
                  </a:lnTo>
                  <a:lnTo>
                    <a:pt x="1839723" y="601461"/>
                  </a:lnTo>
                  <a:lnTo>
                    <a:pt x="1823054" y="627654"/>
                  </a:lnTo>
                  <a:lnTo>
                    <a:pt x="1756379" y="687186"/>
                  </a:lnTo>
                  <a:lnTo>
                    <a:pt x="1775429" y="713379"/>
                  </a:lnTo>
                  <a:lnTo>
                    <a:pt x="1851629" y="672898"/>
                  </a:lnTo>
                  <a:lnTo>
                    <a:pt x="1904016" y="680042"/>
                  </a:lnTo>
                  <a:lnTo>
                    <a:pt x="1920685" y="637179"/>
                  </a:lnTo>
                  <a:lnTo>
                    <a:pt x="1901635" y="610986"/>
                  </a:lnTo>
                  <a:lnTo>
                    <a:pt x="1918304" y="582411"/>
                  </a:lnTo>
                  <a:lnTo>
                    <a:pt x="1901635" y="556217"/>
                  </a:lnTo>
                  <a:lnTo>
                    <a:pt x="1892110" y="537167"/>
                  </a:lnTo>
                  <a:lnTo>
                    <a:pt x="1930210" y="501448"/>
                  </a:lnTo>
                  <a:close/>
                  <a:moveTo>
                    <a:pt x="1913869" y="0"/>
                  </a:moveTo>
                  <a:lnTo>
                    <a:pt x="1976619" y="125500"/>
                  </a:lnTo>
                  <a:lnTo>
                    <a:pt x="2290368" y="109812"/>
                  </a:lnTo>
                  <a:lnTo>
                    <a:pt x="2497187" y="95040"/>
                  </a:lnTo>
                  <a:lnTo>
                    <a:pt x="2497595" y="96784"/>
                  </a:lnTo>
                  <a:lnTo>
                    <a:pt x="2627847" y="168087"/>
                  </a:lnTo>
                  <a:lnTo>
                    <a:pt x="2789248" y="459852"/>
                  </a:lnTo>
                  <a:lnTo>
                    <a:pt x="2947651" y="534885"/>
                  </a:lnTo>
                  <a:lnTo>
                    <a:pt x="2937679" y="563039"/>
                  </a:lnTo>
                  <a:lnTo>
                    <a:pt x="2992448" y="579707"/>
                  </a:lnTo>
                  <a:lnTo>
                    <a:pt x="2985304" y="622570"/>
                  </a:lnTo>
                  <a:lnTo>
                    <a:pt x="2978161" y="641620"/>
                  </a:lnTo>
                  <a:lnTo>
                    <a:pt x="2992448" y="667814"/>
                  </a:lnTo>
                  <a:lnTo>
                    <a:pt x="3013879" y="660670"/>
                  </a:lnTo>
                  <a:lnTo>
                    <a:pt x="3016261" y="708295"/>
                  </a:lnTo>
                  <a:lnTo>
                    <a:pt x="3071029" y="767826"/>
                  </a:lnTo>
                  <a:lnTo>
                    <a:pt x="3101986" y="729726"/>
                  </a:lnTo>
                  <a:lnTo>
                    <a:pt x="3121036" y="751157"/>
                  </a:lnTo>
                  <a:lnTo>
                    <a:pt x="3123417" y="794020"/>
                  </a:lnTo>
                  <a:lnTo>
                    <a:pt x="3154373" y="774970"/>
                  </a:lnTo>
                  <a:lnTo>
                    <a:pt x="3182948" y="805926"/>
                  </a:lnTo>
                  <a:lnTo>
                    <a:pt x="3223429" y="767826"/>
                  </a:lnTo>
                  <a:lnTo>
                    <a:pt x="3249623" y="720201"/>
                  </a:lnTo>
                  <a:lnTo>
                    <a:pt x="3311536" y="784495"/>
                  </a:lnTo>
                  <a:lnTo>
                    <a:pt x="3347254" y="834501"/>
                  </a:lnTo>
                  <a:lnTo>
                    <a:pt x="3437742" y="834501"/>
                  </a:lnTo>
                  <a:lnTo>
                    <a:pt x="3452029" y="794020"/>
                  </a:lnTo>
                  <a:lnTo>
                    <a:pt x="3468679" y="781687"/>
                  </a:lnTo>
                  <a:lnTo>
                    <a:pt x="3513148" y="802751"/>
                  </a:lnTo>
                  <a:lnTo>
                    <a:pt x="3790972" y="889186"/>
                  </a:lnTo>
                  <a:lnTo>
                    <a:pt x="3791754" y="890065"/>
                  </a:lnTo>
                  <a:lnTo>
                    <a:pt x="3792878" y="889779"/>
                  </a:lnTo>
                  <a:lnTo>
                    <a:pt x="3798898" y="891651"/>
                  </a:lnTo>
                  <a:cubicBezTo>
                    <a:pt x="3799039" y="890479"/>
                    <a:pt x="3799179" y="889307"/>
                    <a:pt x="3799320" y="888135"/>
                  </a:cubicBezTo>
                  <a:lnTo>
                    <a:pt x="3869541" y="870221"/>
                  </a:lnTo>
                  <a:lnTo>
                    <a:pt x="3976698" y="986902"/>
                  </a:lnTo>
                  <a:lnTo>
                    <a:pt x="4084648" y="910703"/>
                  </a:lnTo>
                  <a:lnTo>
                    <a:pt x="4141798" y="923402"/>
                  </a:lnTo>
                  <a:lnTo>
                    <a:pt x="4186248" y="1056752"/>
                  </a:lnTo>
                  <a:lnTo>
                    <a:pt x="4313248" y="1171052"/>
                  </a:lnTo>
                  <a:lnTo>
                    <a:pt x="4325948" y="1259953"/>
                  </a:lnTo>
                  <a:lnTo>
                    <a:pt x="4465648" y="1393302"/>
                  </a:lnTo>
                  <a:lnTo>
                    <a:pt x="4573598" y="1336152"/>
                  </a:lnTo>
                  <a:lnTo>
                    <a:pt x="4618048" y="1367902"/>
                  </a:lnTo>
                  <a:lnTo>
                    <a:pt x="4706948" y="1393302"/>
                  </a:lnTo>
                  <a:lnTo>
                    <a:pt x="4649798" y="1450452"/>
                  </a:lnTo>
                  <a:lnTo>
                    <a:pt x="4618048" y="1545702"/>
                  </a:lnTo>
                  <a:lnTo>
                    <a:pt x="4427548" y="1666352"/>
                  </a:lnTo>
                  <a:lnTo>
                    <a:pt x="4256098" y="1640952"/>
                  </a:lnTo>
                  <a:lnTo>
                    <a:pt x="4243398" y="1590152"/>
                  </a:lnTo>
                  <a:lnTo>
                    <a:pt x="4148148" y="1596503"/>
                  </a:lnTo>
                  <a:lnTo>
                    <a:pt x="4103698" y="1691752"/>
                  </a:lnTo>
                  <a:lnTo>
                    <a:pt x="3932248" y="1710802"/>
                  </a:lnTo>
                  <a:lnTo>
                    <a:pt x="3944948" y="1863202"/>
                  </a:lnTo>
                  <a:lnTo>
                    <a:pt x="4071948" y="2072752"/>
                  </a:lnTo>
                  <a:lnTo>
                    <a:pt x="4122748" y="2021952"/>
                  </a:lnTo>
                  <a:lnTo>
                    <a:pt x="4122748" y="2053702"/>
                  </a:lnTo>
                  <a:lnTo>
                    <a:pt x="4097348" y="2123552"/>
                  </a:lnTo>
                  <a:lnTo>
                    <a:pt x="4154498" y="2244202"/>
                  </a:lnTo>
                  <a:lnTo>
                    <a:pt x="4129098" y="2250552"/>
                  </a:lnTo>
                  <a:lnTo>
                    <a:pt x="4090998" y="2288652"/>
                  </a:lnTo>
                  <a:lnTo>
                    <a:pt x="4230698" y="2466452"/>
                  </a:lnTo>
                  <a:lnTo>
                    <a:pt x="4148148" y="2498202"/>
                  </a:lnTo>
                  <a:lnTo>
                    <a:pt x="4198948" y="2542652"/>
                  </a:lnTo>
                  <a:lnTo>
                    <a:pt x="4179898" y="2587102"/>
                  </a:lnTo>
                  <a:lnTo>
                    <a:pt x="4237048" y="2644252"/>
                  </a:lnTo>
                  <a:lnTo>
                    <a:pt x="4154498" y="2758552"/>
                  </a:lnTo>
                  <a:lnTo>
                    <a:pt x="4205298" y="2796652"/>
                  </a:lnTo>
                  <a:lnTo>
                    <a:pt x="4097348" y="2847452"/>
                  </a:lnTo>
                  <a:lnTo>
                    <a:pt x="4110048" y="2942702"/>
                  </a:lnTo>
                  <a:lnTo>
                    <a:pt x="3843348" y="2949052"/>
                  </a:lnTo>
                  <a:lnTo>
                    <a:pt x="3729048" y="3025252"/>
                  </a:lnTo>
                  <a:lnTo>
                    <a:pt x="3792548" y="3095102"/>
                  </a:lnTo>
                  <a:lnTo>
                    <a:pt x="3786198" y="3133202"/>
                  </a:lnTo>
                  <a:lnTo>
                    <a:pt x="3830648" y="3177652"/>
                  </a:lnTo>
                  <a:lnTo>
                    <a:pt x="3748098" y="3285602"/>
                  </a:lnTo>
                  <a:lnTo>
                    <a:pt x="3773498" y="3374502"/>
                  </a:lnTo>
                  <a:lnTo>
                    <a:pt x="3868748" y="3590402"/>
                  </a:lnTo>
                  <a:lnTo>
                    <a:pt x="3798898" y="3698352"/>
                  </a:lnTo>
                  <a:lnTo>
                    <a:pt x="3665548" y="3704702"/>
                  </a:lnTo>
                  <a:lnTo>
                    <a:pt x="3640148" y="3660252"/>
                  </a:lnTo>
                  <a:lnTo>
                    <a:pt x="3551248" y="3660252"/>
                  </a:lnTo>
                  <a:lnTo>
                    <a:pt x="3455998" y="3806302"/>
                  </a:lnTo>
                  <a:lnTo>
                    <a:pt x="3138498" y="3984102"/>
                  </a:lnTo>
                  <a:lnTo>
                    <a:pt x="3030548" y="3939652"/>
                  </a:lnTo>
                  <a:lnTo>
                    <a:pt x="2922598" y="4003152"/>
                  </a:lnTo>
                  <a:lnTo>
                    <a:pt x="2954348" y="4073002"/>
                  </a:lnTo>
                  <a:lnTo>
                    <a:pt x="2884498" y="4098402"/>
                  </a:lnTo>
                  <a:lnTo>
                    <a:pt x="2782898" y="3996802"/>
                  </a:lnTo>
                  <a:lnTo>
                    <a:pt x="2865448" y="3926952"/>
                  </a:lnTo>
                  <a:lnTo>
                    <a:pt x="2827348" y="3768202"/>
                  </a:lnTo>
                  <a:lnTo>
                    <a:pt x="2897198" y="3672952"/>
                  </a:lnTo>
                  <a:lnTo>
                    <a:pt x="2833698" y="3590402"/>
                  </a:lnTo>
                  <a:lnTo>
                    <a:pt x="2611448" y="3565002"/>
                  </a:lnTo>
                  <a:lnTo>
                    <a:pt x="2611448" y="3406253"/>
                  </a:lnTo>
                  <a:lnTo>
                    <a:pt x="2668598" y="3241152"/>
                  </a:lnTo>
                  <a:lnTo>
                    <a:pt x="2560648" y="3215752"/>
                  </a:lnTo>
                  <a:lnTo>
                    <a:pt x="2509848" y="3114152"/>
                  </a:lnTo>
                  <a:lnTo>
                    <a:pt x="2509848" y="3076052"/>
                  </a:lnTo>
                  <a:lnTo>
                    <a:pt x="2439998" y="3076052"/>
                  </a:lnTo>
                  <a:lnTo>
                    <a:pt x="2376498" y="2809352"/>
                  </a:lnTo>
                  <a:lnTo>
                    <a:pt x="2249498" y="2809352"/>
                  </a:lnTo>
                  <a:lnTo>
                    <a:pt x="2230448" y="2752202"/>
                  </a:lnTo>
                  <a:lnTo>
                    <a:pt x="2300298" y="2752202"/>
                  </a:lnTo>
                  <a:lnTo>
                    <a:pt x="2300298" y="2663302"/>
                  </a:lnTo>
                  <a:lnTo>
                    <a:pt x="2205048" y="2606152"/>
                  </a:lnTo>
                  <a:lnTo>
                    <a:pt x="2255848" y="2517252"/>
                  </a:lnTo>
                  <a:lnTo>
                    <a:pt x="2363798" y="2383902"/>
                  </a:lnTo>
                  <a:lnTo>
                    <a:pt x="2332048" y="2333103"/>
                  </a:lnTo>
                  <a:lnTo>
                    <a:pt x="2351098" y="2263252"/>
                  </a:lnTo>
                  <a:lnTo>
                    <a:pt x="2293948" y="2256902"/>
                  </a:lnTo>
                  <a:lnTo>
                    <a:pt x="2173298" y="2409302"/>
                  </a:lnTo>
                  <a:lnTo>
                    <a:pt x="1976448" y="2402952"/>
                  </a:lnTo>
                  <a:lnTo>
                    <a:pt x="1938348" y="2206102"/>
                  </a:lnTo>
                  <a:lnTo>
                    <a:pt x="1849448" y="2250552"/>
                  </a:lnTo>
                  <a:lnTo>
                    <a:pt x="1773248" y="2256902"/>
                  </a:lnTo>
                  <a:lnTo>
                    <a:pt x="1703398" y="2326752"/>
                  </a:lnTo>
                  <a:lnTo>
                    <a:pt x="1576398" y="2333103"/>
                  </a:lnTo>
                  <a:lnTo>
                    <a:pt x="1608148" y="2409302"/>
                  </a:lnTo>
                  <a:lnTo>
                    <a:pt x="1722448" y="2479152"/>
                  </a:lnTo>
                  <a:lnTo>
                    <a:pt x="1690698" y="2726802"/>
                  </a:lnTo>
                  <a:lnTo>
                    <a:pt x="1779598" y="2733152"/>
                  </a:lnTo>
                  <a:lnTo>
                    <a:pt x="1627198" y="2860152"/>
                  </a:lnTo>
                  <a:lnTo>
                    <a:pt x="1531948" y="2809352"/>
                  </a:lnTo>
                  <a:lnTo>
                    <a:pt x="1398598" y="2936352"/>
                  </a:lnTo>
                  <a:lnTo>
                    <a:pt x="1354148" y="2910952"/>
                  </a:lnTo>
                  <a:lnTo>
                    <a:pt x="1239848" y="2974452"/>
                  </a:lnTo>
                  <a:lnTo>
                    <a:pt x="1182698" y="2885552"/>
                  </a:lnTo>
                  <a:lnTo>
                    <a:pt x="1290648" y="2866502"/>
                  </a:lnTo>
                  <a:lnTo>
                    <a:pt x="1303348" y="2777602"/>
                  </a:lnTo>
                  <a:lnTo>
                    <a:pt x="1195398" y="2733152"/>
                  </a:lnTo>
                  <a:lnTo>
                    <a:pt x="1214448" y="2593452"/>
                  </a:lnTo>
                  <a:lnTo>
                    <a:pt x="1265248" y="2536302"/>
                  </a:lnTo>
                  <a:lnTo>
                    <a:pt x="1169998" y="2441052"/>
                  </a:lnTo>
                  <a:lnTo>
                    <a:pt x="1017598" y="2402952"/>
                  </a:lnTo>
                  <a:lnTo>
                    <a:pt x="979498" y="2307703"/>
                  </a:lnTo>
                  <a:lnTo>
                    <a:pt x="915998" y="2307703"/>
                  </a:lnTo>
                  <a:lnTo>
                    <a:pt x="884248" y="2358502"/>
                  </a:lnTo>
                  <a:lnTo>
                    <a:pt x="896948" y="2441052"/>
                  </a:lnTo>
                  <a:lnTo>
                    <a:pt x="642948" y="2593452"/>
                  </a:lnTo>
                  <a:lnTo>
                    <a:pt x="363548" y="2663302"/>
                  </a:lnTo>
                  <a:lnTo>
                    <a:pt x="352743" y="2657011"/>
                  </a:lnTo>
                  <a:lnTo>
                    <a:pt x="345124" y="2588434"/>
                  </a:lnTo>
                  <a:lnTo>
                    <a:pt x="313749" y="2353121"/>
                  </a:lnTo>
                  <a:lnTo>
                    <a:pt x="0" y="2306059"/>
                  </a:lnTo>
                  <a:lnTo>
                    <a:pt x="15687" y="2180559"/>
                  </a:lnTo>
                  <a:lnTo>
                    <a:pt x="94124" y="2023684"/>
                  </a:lnTo>
                  <a:lnTo>
                    <a:pt x="360811" y="1976622"/>
                  </a:lnTo>
                  <a:lnTo>
                    <a:pt x="345124" y="1662872"/>
                  </a:lnTo>
                  <a:lnTo>
                    <a:pt x="533373" y="1521685"/>
                  </a:lnTo>
                  <a:lnTo>
                    <a:pt x="486311" y="1270686"/>
                  </a:lnTo>
                  <a:lnTo>
                    <a:pt x="580436" y="956936"/>
                  </a:lnTo>
                  <a:lnTo>
                    <a:pt x="360811" y="925561"/>
                  </a:lnTo>
                  <a:lnTo>
                    <a:pt x="250999" y="705936"/>
                  </a:lnTo>
                  <a:lnTo>
                    <a:pt x="423561" y="517687"/>
                  </a:lnTo>
                  <a:lnTo>
                    <a:pt x="643185" y="360812"/>
                  </a:lnTo>
                  <a:lnTo>
                    <a:pt x="784372" y="407874"/>
                  </a:lnTo>
                  <a:lnTo>
                    <a:pt x="1176559" y="266687"/>
                  </a:lnTo>
                  <a:lnTo>
                    <a:pt x="1333433" y="298062"/>
                  </a:lnTo>
                  <a:lnTo>
                    <a:pt x="1427558" y="564749"/>
                  </a:lnTo>
                  <a:lnTo>
                    <a:pt x="1349121" y="737311"/>
                  </a:lnTo>
                  <a:lnTo>
                    <a:pt x="1615808" y="815749"/>
                  </a:lnTo>
                  <a:lnTo>
                    <a:pt x="1584433" y="643187"/>
                  </a:lnTo>
                  <a:lnTo>
                    <a:pt x="1505995" y="517687"/>
                  </a:lnTo>
                  <a:lnTo>
                    <a:pt x="1584433" y="470624"/>
                  </a:lnTo>
                  <a:lnTo>
                    <a:pt x="1756995" y="580437"/>
                  </a:lnTo>
                  <a:lnTo>
                    <a:pt x="1741307" y="376500"/>
                  </a:lnTo>
                  <a:close/>
                </a:path>
              </a:pathLst>
            </a:custGeom>
            <a:solidFill>
              <a:schemeClr val="accent2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3" name="_Map_Bremen">
              <a:extLst>
                <a:ext uri="{FF2B5EF4-FFF2-40B4-BE49-F238E27FC236}">
                  <a16:creationId xmlns:a16="http://schemas.microsoft.com/office/drawing/2014/main" id="{B33AB715-8979-4A9F-99B2-5628FAC9DF38}"/>
                </a:ext>
              </a:extLst>
            </p:cNvPr>
            <p:cNvSpPr/>
            <p:nvPr>
              <p:custDataLst>
                <p:tags r:id="rId11"/>
              </p:custDataLst>
            </p:nvPr>
          </p:nvSpPr>
          <p:spPr bwMode="gray">
            <a:xfrm>
              <a:off x="6593425" y="2361429"/>
              <a:ext cx="195864" cy="394623"/>
            </a:xfrm>
            <a:custGeom>
              <a:avLst/>
              <a:gdLst>
                <a:gd name="connsiteX0" fmla="*/ 33337 w 483394"/>
                <a:gd name="connsiteY0" fmla="*/ 626270 h 973932"/>
                <a:gd name="connsiteX1" fmla="*/ 76200 w 483394"/>
                <a:gd name="connsiteY1" fmla="*/ 647701 h 973932"/>
                <a:gd name="connsiteX2" fmla="*/ 107156 w 483394"/>
                <a:gd name="connsiteY2" fmla="*/ 633413 h 973932"/>
                <a:gd name="connsiteX3" fmla="*/ 119062 w 483394"/>
                <a:gd name="connsiteY3" fmla="*/ 652463 h 973932"/>
                <a:gd name="connsiteX4" fmla="*/ 116681 w 483394"/>
                <a:gd name="connsiteY4" fmla="*/ 678657 h 973932"/>
                <a:gd name="connsiteX5" fmla="*/ 157162 w 483394"/>
                <a:gd name="connsiteY5" fmla="*/ 673895 h 973932"/>
                <a:gd name="connsiteX6" fmla="*/ 200025 w 483394"/>
                <a:gd name="connsiteY6" fmla="*/ 702470 h 973932"/>
                <a:gd name="connsiteX7" fmla="*/ 233362 w 483394"/>
                <a:gd name="connsiteY7" fmla="*/ 690563 h 973932"/>
                <a:gd name="connsiteX8" fmla="*/ 276225 w 483394"/>
                <a:gd name="connsiteY8" fmla="*/ 721520 h 973932"/>
                <a:gd name="connsiteX9" fmla="*/ 347662 w 483394"/>
                <a:gd name="connsiteY9" fmla="*/ 719138 h 973932"/>
                <a:gd name="connsiteX10" fmla="*/ 376237 w 483394"/>
                <a:gd name="connsiteY10" fmla="*/ 771526 h 973932"/>
                <a:gd name="connsiteX11" fmla="*/ 414337 w 483394"/>
                <a:gd name="connsiteY11" fmla="*/ 769145 h 973932"/>
                <a:gd name="connsiteX12" fmla="*/ 454819 w 483394"/>
                <a:gd name="connsiteY12" fmla="*/ 733426 h 973932"/>
                <a:gd name="connsiteX13" fmla="*/ 483394 w 483394"/>
                <a:gd name="connsiteY13" fmla="*/ 783432 h 973932"/>
                <a:gd name="connsiteX14" fmla="*/ 454819 w 483394"/>
                <a:gd name="connsiteY14" fmla="*/ 795338 h 973932"/>
                <a:gd name="connsiteX15" fmla="*/ 483394 w 483394"/>
                <a:gd name="connsiteY15" fmla="*/ 828676 h 973932"/>
                <a:gd name="connsiteX16" fmla="*/ 464344 w 483394"/>
                <a:gd name="connsiteY16" fmla="*/ 845345 h 973932"/>
                <a:gd name="connsiteX17" fmla="*/ 473869 w 483394"/>
                <a:gd name="connsiteY17" fmla="*/ 912020 h 973932"/>
                <a:gd name="connsiteX18" fmla="*/ 419100 w 483394"/>
                <a:gd name="connsiteY18" fmla="*/ 973932 h 973932"/>
                <a:gd name="connsiteX19" fmla="*/ 376237 w 483394"/>
                <a:gd name="connsiteY19" fmla="*/ 914401 h 973932"/>
                <a:gd name="connsiteX20" fmla="*/ 345281 w 483394"/>
                <a:gd name="connsiteY20" fmla="*/ 959645 h 973932"/>
                <a:gd name="connsiteX21" fmla="*/ 278606 w 483394"/>
                <a:gd name="connsiteY21" fmla="*/ 904876 h 973932"/>
                <a:gd name="connsiteX22" fmla="*/ 221456 w 483394"/>
                <a:gd name="connsiteY22" fmla="*/ 931070 h 973932"/>
                <a:gd name="connsiteX23" fmla="*/ 214312 w 483394"/>
                <a:gd name="connsiteY23" fmla="*/ 850107 h 973932"/>
                <a:gd name="connsiteX24" fmla="*/ 190500 w 483394"/>
                <a:gd name="connsiteY24" fmla="*/ 850107 h 973932"/>
                <a:gd name="connsiteX25" fmla="*/ 161925 w 483394"/>
                <a:gd name="connsiteY25" fmla="*/ 795338 h 973932"/>
                <a:gd name="connsiteX26" fmla="*/ 121443 w 483394"/>
                <a:gd name="connsiteY26" fmla="*/ 714374 h 973932"/>
                <a:gd name="connsiteX27" fmla="*/ 35718 w 483394"/>
                <a:gd name="connsiteY27" fmla="*/ 685801 h 973932"/>
                <a:gd name="connsiteX28" fmla="*/ 9525 w 483394"/>
                <a:gd name="connsiteY28" fmla="*/ 633414 h 973932"/>
                <a:gd name="connsiteX29" fmla="*/ 154781 w 483394"/>
                <a:gd name="connsiteY29" fmla="*/ 0 h 973932"/>
                <a:gd name="connsiteX30" fmla="*/ 173831 w 483394"/>
                <a:gd name="connsiteY30" fmla="*/ 30956 h 973932"/>
                <a:gd name="connsiteX31" fmla="*/ 135731 w 483394"/>
                <a:gd name="connsiteY31" fmla="*/ 66675 h 973932"/>
                <a:gd name="connsiteX32" fmla="*/ 145256 w 483394"/>
                <a:gd name="connsiteY32" fmla="*/ 85725 h 973932"/>
                <a:gd name="connsiteX33" fmla="*/ 161925 w 483394"/>
                <a:gd name="connsiteY33" fmla="*/ 111919 h 973932"/>
                <a:gd name="connsiteX34" fmla="*/ 145256 w 483394"/>
                <a:gd name="connsiteY34" fmla="*/ 140494 h 973932"/>
                <a:gd name="connsiteX35" fmla="*/ 164306 w 483394"/>
                <a:gd name="connsiteY35" fmla="*/ 166687 h 973932"/>
                <a:gd name="connsiteX36" fmla="*/ 147637 w 483394"/>
                <a:gd name="connsiteY36" fmla="*/ 209550 h 973932"/>
                <a:gd name="connsiteX37" fmla="*/ 95250 w 483394"/>
                <a:gd name="connsiteY37" fmla="*/ 202406 h 973932"/>
                <a:gd name="connsiteX38" fmla="*/ 19050 w 483394"/>
                <a:gd name="connsiteY38" fmla="*/ 242887 h 973932"/>
                <a:gd name="connsiteX39" fmla="*/ 0 w 483394"/>
                <a:gd name="connsiteY39" fmla="*/ 216694 h 973932"/>
                <a:gd name="connsiteX40" fmla="*/ 66675 w 483394"/>
                <a:gd name="connsiteY40" fmla="*/ 157162 h 973932"/>
                <a:gd name="connsiteX41" fmla="*/ 83344 w 483394"/>
                <a:gd name="connsiteY41" fmla="*/ 130969 h 973932"/>
                <a:gd name="connsiteX42" fmla="*/ 28575 w 483394"/>
                <a:gd name="connsiteY42" fmla="*/ 90487 h 973932"/>
                <a:gd name="connsiteX43" fmla="*/ 2381 w 483394"/>
                <a:gd name="connsiteY43" fmla="*/ 26194 h 973932"/>
                <a:gd name="connsiteX44" fmla="*/ 57150 w 483394"/>
                <a:gd name="connsiteY44" fmla="*/ 7144 h 973932"/>
                <a:gd name="connsiteX45" fmla="*/ 76200 w 483394"/>
                <a:gd name="connsiteY45" fmla="*/ 14287 h 973932"/>
                <a:gd name="connsiteX46" fmla="*/ 111919 w 483394"/>
                <a:gd name="connsiteY46" fmla="*/ 35719 h 9739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</a:cxnLst>
              <a:rect l="l" t="t" r="r" b="b"/>
              <a:pathLst>
                <a:path w="483394" h="973932">
                  <a:moveTo>
                    <a:pt x="33337" y="626270"/>
                  </a:moveTo>
                  <a:cubicBezTo>
                    <a:pt x="53181" y="634208"/>
                    <a:pt x="56356" y="639763"/>
                    <a:pt x="76200" y="647701"/>
                  </a:cubicBezTo>
                  <a:lnTo>
                    <a:pt x="107156" y="633413"/>
                  </a:lnTo>
                  <a:lnTo>
                    <a:pt x="119062" y="652463"/>
                  </a:lnTo>
                  <a:lnTo>
                    <a:pt x="116681" y="678657"/>
                  </a:lnTo>
                  <a:cubicBezTo>
                    <a:pt x="130175" y="677070"/>
                    <a:pt x="143271" y="669926"/>
                    <a:pt x="157162" y="673895"/>
                  </a:cubicBezTo>
                  <a:cubicBezTo>
                    <a:pt x="171053" y="677864"/>
                    <a:pt x="185737" y="692945"/>
                    <a:pt x="200025" y="702470"/>
                  </a:cubicBezTo>
                  <a:lnTo>
                    <a:pt x="233362" y="690563"/>
                  </a:lnTo>
                  <a:lnTo>
                    <a:pt x="276225" y="721520"/>
                  </a:lnTo>
                  <a:lnTo>
                    <a:pt x="347662" y="719138"/>
                  </a:lnTo>
                  <a:lnTo>
                    <a:pt x="376237" y="771526"/>
                  </a:lnTo>
                  <a:lnTo>
                    <a:pt x="414337" y="769145"/>
                  </a:lnTo>
                  <a:lnTo>
                    <a:pt x="454819" y="733426"/>
                  </a:lnTo>
                  <a:lnTo>
                    <a:pt x="483394" y="783432"/>
                  </a:lnTo>
                  <a:lnTo>
                    <a:pt x="454819" y="795338"/>
                  </a:lnTo>
                  <a:lnTo>
                    <a:pt x="483394" y="828676"/>
                  </a:lnTo>
                  <a:lnTo>
                    <a:pt x="464344" y="845345"/>
                  </a:lnTo>
                  <a:lnTo>
                    <a:pt x="473869" y="912020"/>
                  </a:lnTo>
                  <a:lnTo>
                    <a:pt x="419100" y="973932"/>
                  </a:lnTo>
                  <a:lnTo>
                    <a:pt x="376237" y="914401"/>
                  </a:lnTo>
                  <a:lnTo>
                    <a:pt x="345281" y="959645"/>
                  </a:lnTo>
                  <a:lnTo>
                    <a:pt x="278606" y="904876"/>
                  </a:lnTo>
                  <a:lnTo>
                    <a:pt x="221456" y="931070"/>
                  </a:lnTo>
                  <a:lnTo>
                    <a:pt x="214312" y="850107"/>
                  </a:lnTo>
                  <a:lnTo>
                    <a:pt x="190500" y="850107"/>
                  </a:lnTo>
                  <a:lnTo>
                    <a:pt x="161925" y="795338"/>
                  </a:lnTo>
                  <a:lnTo>
                    <a:pt x="121443" y="714374"/>
                  </a:lnTo>
                  <a:lnTo>
                    <a:pt x="35718" y="685801"/>
                  </a:lnTo>
                  <a:lnTo>
                    <a:pt x="9525" y="633414"/>
                  </a:lnTo>
                  <a:close/>
                  <a:moveTo>
                    <a:pt x="154781" y="0"/>
                  </a:moveTo>
                  <a:lnTo>
                    <a:pt x="173831" y="30956"/>
                  </a:lnTo>
                  <a:lnTo>
                    <a:pt x="135731" y="66675"/>
                  </a:lnTo>
                  <a:lnTo>
                    <a:pt x="145256" y="85725"/>
                  </a:lnTo>
                  <a:lnTo>
                    <a:pt x="161925" y="111919"/>
                  </a:lnTo>
                  <a:lnTo>
                    <a:pt x="145256" y="140494"/>
                  </a:lnTo>
                  <a:lnTo>
                    <a:pt x="164306" y="166687"/>
                  </a:lnTo>
                  <a:lnTo>
                    <a:pt x="147637" y="209550"/>
                  </a:lnTo>
                  <a:lnTo>
                    <a:pt x="95250" y="202406"/>
                  </a:lnTo>
                  <a:lnTo>
                    <a:pt x="19050" y="242887"/>
                  </a:lnTo>
                  <a:lnTo>
                    <a:pt x="0" y="216694"/>
                  </a:lnTo>
                  <a:lnTo>
                    <a:pt x="66675" y="157162"/>
                  </a:lnTo>
                  <a:lnTo>
                    <a:pt x="83344" y="130969"/>
                  </a:lnTo>
                  <a:lnTo>
                    <a:pt x="28575" y="90487"/>
                  </a:lnTo>
                  <a:lnTo>
                    <a:pt x="2381" y="26194"/>
                  </a:lnTo>
                  <a:lnTo>
                    <a:pt x="57150" y="7144"/>
                  </a:lnTo>
                  <a:lnTo>
                    <a:pt x="76200" y="14287"/>
                  </a:lnTo>
                  <a:lnTo>
                    <a:pt x="111919" y="35719"/>
                  </a:lnTo>
                  <a:close/>
                </a:path>
              </a:pathLst>
            </a:custGeom>
            <a:solidFill>
              <a:schemeClr val="accent1"/>
            </a:solidFill>
            <a:ln w="6350" cap="flat" cmpd="sng" algn="ctr">
              <a:solidFill>
                <a:schemeClr val="accent1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4" name="_Map_Sachsen Anhalt">
              <a:extLst>
                <a:ext uri="{FF2B5EF4-FFF2-40B4-BE49-F238E27FC236}">
                  <a16:creationId xmlns:a16="http://schemas.microsoft.com/office/drawing/2014/main" id="{5558F550-80DD-4E52-BCE0-135B1EEE5A5F}"/>
                </a:ext>
              </a:extLst>
            </p:cNvPr>
            <p:cNvSpPr/>
            <p:nvPr>
              <p:custDataLst>
                <p:tags r:id="rId12"/>
              </p:custDataLst>
            </p:nvPr>
          </p:nvSpPr>
          <p:spPr bwMode="gray">
            <a:xfrm>
              <a:off x="7389737" y="2735268"/>
              <a:ext cx="1012046" cy="1312197"/>
            </a:xfrm>
            <a:custGeom>
              <a:avLst/>
              <a:gdLst>
                <a:gd name="connsiteX0" fmla="*/ 973732 w 2497732"/>
                <a:gd name="connsiteY0" fmla="*/ 0 h 3238500"/>
                <a:gd name="connsiteX1" fmla="*/ 1081682 w 2497732"/>
                <a:gd name="connsiteY1" fmla="*/ 50800 h 3238500"/>
                <a:gd name="connsiteX2" fmla="*/ 1170582 w 2497732"/>
                <a:gd name="connsiteY2" fmla="*/ 57150 h 3238500"/>
                <a:gd name="connsiteX3" fmla="*/ 1246782 w 2497732"/>
                <a:gd name="connsiteY3" fmla="*/ 101600 h 3238500"/>
                <a:gd name="connsiteX4" fmla="*/ 1215032 w 2497732"/>
                <a:gd name="connsiteY4" fmla="*/ 171450 h 3238500"/>
                <a:gd name="connsiteX5" fmla="*/ 1361082 w 2497732"/>
                <a:gd name="connsiteY5" fmla="*/ 234950 h 3238500"/>
                <a:gd name="connsiteX6" fmla="*/ 1494432 w 2497732"/>
                <a:gd name="connsiteY6" fmla="*/ 222250 h 3238500"/>
                <a:gd name="connsiteX7" fmla="*/ 1519832 w 2497732"/>
                <a:gd name="connsiteY7" fmla="*/ 279400 h 3238500"/>
                <a:gd name="connsiteX8" fmla="*/ 1589682 w 2497732"/>
                <a:gd name="connsiteY8" fmla="*/ 254000 h 3238500"/>
                <a:gd name="connsiteX9" fmla="*/ 1634132 w 2497732"/>
                <a:gd name="connsiteY9" fmla="*/ 342900 h 3238500"/>
                <a:gd name="connsiteX10" fmla="*/ 1576982 w 2497732"/>
                <a:gd name="connsiteY10" fmla="*/ 438150 h 3238500"/>
                <a:gd name="connsiteX11" fmla="*/ 1621432 w 2497732"/>
                <a:gd name="connsiteY11" fmla="*/ 596900 h 3238500"/>
                <a:gd name="connsiteX12" fmla="*/ 1538882 w 2497732"/>
                <a:gd name="connsiteY12" fmla="*/ 654050 h 3238500"/>
                <a:gd name="connsiteX13" fmla="*/ 1519832 w 2497732"/>
                <a:gd name="connsiteY13" fmla="*/ 781050 h 3238500"/>
                <a:gd name="connsiteX14" fmla="*/ 1570632 w 2497732"/>
                <a:gd name="connsiteY14" fmla="*/ 844550 h 3238500"/>
                <a:gd name="connsiteX15" fmla="*/ 1608732 w 2497732"/>
                <a:gd name="connsiteY15" fmla="*/ 781050 h 3238500"/>
                <a:gd name="connsiteX16" fmla="*/ 1691282 w 2497732"/>
                <a:gd name="connsiteY16" fmla="*/ 850900 h 3238500"/>
                <a:gd name="connsiteX17" fmla="*/ 1659532 w 2497732"/>
                <a:gd name="connsiteY17" fmla="*/ 971550 h 3238500"/>
                <a:gd name="connsiteX18" fmla="*/ 1602382 w 2497732"/>
                <a:gd name="connsiteY18" fmla="*/ 1346200 h 3238500"/>
                <a:gd name="connsiteX19" fmla="*/ 1780182 w 2497732"/>
                <a:gd name="connsiteY19" fmla="*/ 1593850 h 3238500"/>
                <a:gd name="connsiteX20" fmla="*/ 1843682 w 2497732"/>
                <a:gd name="connsiteY20" fmla="*/ 1562100 h 3238500"/>
                <a:gd name="connsiteX21" fmla="*/ 1945282 w 2497732"/>
                <a:gd name="connsiteY21" fmla="*/ 1651000 h 3238500"/>
                <a:gd name="connsiteX22" fmla="*/ 2021482 w 2497732"/>
                <a:gd name="connsiteY22" fmla="*/ 1574800 h 3238500"/>
                <a:gd name="connsiteX23" fmla="*/ 2396132 w 2497732"/>
                <a:gd name="connsiteY23" fmla="*/ 1790700 h 3238500"/>
                <a:gd name="connsiteX24" fmla="*/ 2478682 w 2497732"/>
                <a:gd name="connsiteY24" fmla="*/ 1797050 h 3238500"/>
                <a:gd name="connsiteX25" fmla="*/ 2497732 w 2497732"/>
                <a:gd name="connsiteY25" fmla="*/ 2051050 h 3238500"/>
                <a:gd name="connsiteX26" fmla="*/ 2421532 w 2497732"/>
                <a:gd name="connsiteY26" fmla="*/ 2133600 h 3238500"/>
                <a:gd name="connsiteX27" fmla="*/ 2424284 w 2497732"/>
                <a:gd name="connsiteY27" fmla="*/ 2169372 h 3238500"/>
                <a:gd name="connsiteX28" fmla="*/ 2412642 w 2497732"/>
                <a:gd name="connsiteY28" fmla="*/ 2171700 h 3238500"/>
                <a:gd name="connsiteX29" fmla="*/ 2283102 w 2497732"/>
                <a:gd name="connsiteY29" fmla="*/ 2194560 h 3238500"/>
                <a:gd name="connsiteX30" fmla="*/ 2214522 w 2497732"/>
                <a:gd name="connsiteY30" fmla="*/ 2118360 h 3238500"/>
                <a:gd name="connsiteX31" fmla="*/ 2054502 w 2497732"/>
                <a:gd name="connsiteY31" fmla="*/ 2141220 h 3238500"/>
                <a:gd name="connsiteX32" fmla="*/ 2024022 w 2497732"/>
                <a:gd name="connsiteY32" fmla="*/ 2202180 h 3238500"/>
                <a:gd name="connsiteX33" fmla="*/ 1886862 w 2497732"/>
                <a:gd name="connsiteY33" fmla="*/ 2232660 h 3238500"/>
                <a:gd name="connsiteX34" fmla="*/ 1597302 w 2497732"/>
                <a:gd name="connsiteY34" fmla="*/ 2324100 h 3238500"/>
                <a:gd name="connsiteX35" fmla="*/ 1551582 w 2497732"/>
                <a:gd name="connsiteY35" fmla="*/ 2446020 h 3238500"/>
                <a:gd name="connsiteX36" fmla="*/ 1582062 w 2497732"/>
                <a:gd name="connsiteY36" fmla="*/ 2506980 h 3238500"/>
                <a:gd name="connsiteX37" fmla="*/ 1566822 w 2497732"/>
                <a:gd name="connsiteY37" fmla="*/ 2682240 h 3238500"/>
                <a:gd name="connsiteX38" fmla="*/ 1582062 w 2497732"/>
                <a:gd name="connsiteY38" fmla="*/ 2887980 h 3238500"/>
                <a:gd name="connsiteX39" fmla="*/ 1673502 w 2497732"/>
                <a:gd name="connsiteY39" fmla="*/ 3032760 h 3238500"/>
                <a:gd name="connsiteX40" fmla="*/ 1612542 w 2497732"/>
                <a:gd name="connsiteY40" fmla="*/ 3063240 h 3238500"/>
                <a:gd name="connsiteX41" fmla="*/ 1696362 w 2497732"/>
                <a:gd name="connsiteY41" fmla="*/ 3131820 h 3238500"/>
                <a:gd name="connsiteX42" fmla="*/ 1604922 w 2497732"/>
                <a:gd name="connsiteY42" fmla="*/ 3238500 h 3238500"/>
                <a:gd name="connsiteX43" fmla="*/ 1422042 w 2497732"/>
                <a:gd name="connsiteY43" fmla="*/ 3200400 h 3238500"/>
                <a:gd name="connsiteX44" fmla="*/ 1315362 w 2497732"/>
                <a:gd name="connsiteY44" fmla="*/ 3093720 h 3238500"/>
                <a:gd name="connsiteX45" fmla="*/ 1155342 w 2497732"/>
                <a:gd name="connsiteY45" fmla="*/ 3078480 h 3238500"/>
                <a:gd name="connsiteX46" fmla="*/ 995322 w 2497732"/>
                <a:gd name="connsiteY46" fmla="*/ 2971800 h 3238500"/>
                <a:gd name="connsiteX47" fmla="*/ 926742 w 2497732"/>
                <a:gd name="connsiteY47" fmla="*/ 3025140 h 3238500"/>
                <a:gd name="connsiteX48" fmla="*/ 873402 w 2497732"/>
                <a:gd name="connsiteY48" fmla="*/ 2857500 h 3238500"/>
                <a:gd name="connsiteX49" fmla="*/ 812442 w 2497732"/>
                <a:gd name="connsiteY49" fmla="*/ 2857500 h 3238500"/>
                <a:gd name="connsiteX50" fmla="*/ 827682 w 2497732"/>
                <a:gd name="connsiteY50" fmla="*/ 2796540 h 3238500"/>
                <a:gd name="connsiteX51" fmla="*/ 896262 w 2497732"/>
                <a:gd name="connsiteY51" fmla="*/ 2697480 h 3238500"/>
                <a:gd name="connsiteX52" fmla="*/ 789582 w 2497732"/>
                <a:gd name="connsiteY52" fmla="*/ 2560320 h 3238500"/>
                <a:gd name="connsiteX53" fmla="*/ 446682 w 2497732"/>
                <a:gd name="connsiteY53" fmla="*/ 2529840 h 3238500"/>
                <a:gd name="connsiteX54" fmla="*/ 370482 w 2497732"/>
                <a:gd name="connsiteY54" fmla="*/ 2316480 h 3238500"/>
                <a:gd name="connsiteX55" fmla="*/ 385722 w 2497732"/>
                <a:gd name="connsiteY55" fmla="*/ 2217420 h 3238500"/>
                <a:gd name="connsiteX56" fmla="*/ 137588 w 2497732"/>
                <a:gd name="connsiteY56" fmla="*/ 2187343 h 3238500"/>
                <a:gd name="connsiteX57" fmla="*/ 139700 w 2497732"/>
                <a:gd name="connsiteY57" fmla="*/ 2184079 h 3238500"/>
                <a:gd name="connsiteX58" fmla="*/ 44450 w 2497732"/>
                <a:gd name="connsiteY58" fmla="*/ 1968179 h 3238500"/>
                <a:gd name="connsiteX59" fmla="*/ 19050 w 2497732"/>
                <a:gd name="connsiteY59" fmla="*/ 1879279 h 3238500"/>
                <a:gd name="connsiteX60" fmla="*/ 101600 w 2497732"/>
                <a:gd name="connsiteY60" fmla="*/ 1771329 h 3238500"/>
                <a:gd name="connsiteX61" fmla="*/ 57150 w 2497732"/>
                <a:gd name="connsiteY61" fmla="*/ 1726879 h 3238500"/>
                <a:gd name="connsiteX62" fmla="*/ 63500 w 2497732"/>
                <a:gd name="connsiteY62" fmla="*/ 1688779 h 3238500"/>
                <a:gd name="connsiteX63" fmla="*/ 0 w 2497732"/>
                <a:gd name="connsiteY63" fmla="*/ 1618929 h 3238500"/>
                <a:gd name="connsiteX64" fmla="*/ 114300 w 2497732"/>
                <a:gd name="connsiteY64" fmla="*/ 1542729 h 3238500"/>
                <a:gd name="connsiteX65" fmla="*/ 381000 w 2497732"/>
                <a:gd name="connsiteY65" fmla="*/ 1536379 h 3238500"/>
                <a:gd name="connsiteX66" fmla="*/ 368300 w 2497732"/>
                <a:gd name="connsiteY66" fmla="*/ 1441129 h 3238500"/>
                <a:gd name="connsiteX67" fmla="*/ 476250 w 2497732"/>
                <a:gd name="connsiteY67" fmla="*/ 1390329 h 3238500"/>
                <a:gd name="connsiteX68" fmla="*/ 425450 w 2497732"/>
                <a:gd name="connsiteY68" fmla="*/ 1352229 h 3238500"/>
                <a:gd name="connsiteX69" fmla="*/ 508000 w 2497732"/>
                <a:gd name="connsiteY69" fmla="*/ 1237929 h 3238500"/>
                <a:gd name="connsiteX70" fmla="*/ 450850 w 2497732"/>
                <a:gd name="connsiteY70" fmla="*/ 1180779 h 3238500"/>
                <a:gd name="connsiteX71" fmla="*/ 469900 w 2497732"/>
                <a:gd name="connsiteY71" fmla="*/ 1136329 h 3238500"/>
                <a:gd name="connsiteX72" fmla="*/ 419100 w 2497732"/>
                <a:gd name="connsiteY72" fmla="*/ 1091879 h 3238500"/>
                <a:gd name="connsiteX73" fmla="*/ 501650 w 2497732"/>
                <a:gd name="connsiteY73" fmla="*/ 1060129 h 3238500"/>
                <a:gd name="connsiteX74" fmla="*/ 361950 w 2497732"/>
                <a:gd name="connsiteY74" fmla="*/ 882329 h 3238500"/>
                <a:gd name="connsiteX75" fmla="*/ 400050 w 2497732"/>
                <a:gd name="connsiteY75" fmla="*/ 844229 h 3238500"/>
                <a:gd name="connsiteX76" fmla="*/ 425450 w 2497732"/>
                <a:gd name="connsiteY76" fmla="*/ 837879 h 3238500"/>
                <a:gd name="connsiteX77" fmla="*/ 368300 w 2497732"/>
                <a:gd name="connsiteY77" fmla="*/ 717229 h 3238500"/>
                <a:gd name="connsiteX78" fmla="*/ 393700 w 2497732"/>
                <a:gd name="connsiteY78" fmla="*/ 647379 h 3238500"/>
                <a:gd name="connsiteX79" fmla="*/ 393700 w 2497732"/>
                <a:gd name="connsiteY79" fmla="*/ 615629 h 3238500"/>
                <a:gd name="connsiteX80" fmla="*/ 342900 w 2497732"/>
                <a:gd name="connsiteY80" fmla="*/ 666429 h 3238500"/>
                <a:gd name="connsiteX81" fmla="*/ 215900 w 2497732"/>
                <a:gd name="connsiteY81" fmla="*/ 456879 h 3238500"/>
                <a:gd name="connsiteX82" fmla="*/ 203200 w 2497732"/>
                <a:gd name="connsiteY82" fmla="*/ 304479 h 3238500"/>
                <a:gd name="connsiteX83" fmla="*/ 374650 w 2497732"/>
                <a:gd name="connsiteY83" fmla="*/ 285429 h 3238500"/>
                <a:gd name="connsiteX84" fmla="*/ 419100 w 2497732"/>
                <a:gd name="connsiteY84" fmla="*/ 190180 h 3238500"/>
                <a:gd name="connsiteX85" fmla="*/ 514350 w 2497732"/>
                <a:gd name="connsiteY85" fmla="*/ 183829 h 3238500"/>
                <a:gd name="connsiteX86" fmla="*/ 527050 w 2497732"/>
                <a:gd name="connsiteY86" fmla="*/ 234629 h 3238500"/>
                <a:gd name="connsiteX87" fmla="*/ 698500 w 2497732"/>
                <a:gd name="connsiteY87" fmla="*/ 260029 h 3238500"/>
                <a:gd name="connsiteX88" fmla="*/ 889000 w 2497732"/>
                <a:gd name="connsiteY88" fmla="*/ 139379 h 3238500"/>
                <a:gd name="connsiteX89" fmla="*/ 920750 w 2497732"/>
                <a:gd name="connsiteY89" fmla="*/ 44129 h 3238500"/>
                <a:gd name="connsiteX90" fmla="*/ 959469 w 2497732"/>
                <a:gd name="connsiteY90" fmla="*/ 5410 h 3238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</a:cxnLst>
              <a:rect l="l" t="t" r="r" b="b"/>
              <a:pathLst>
                <a:path w="2497732" h="3238500">
                  <a:moveTo>
                    <a:pt x="973732" y="0"/>
                  </a:moveTo>
                  <a:lnTo>
                    <a:pt x="1081682" y="50800"/>
                  </a:lnTo>
                  <a:lnTo>
                    <a:pt x="1170582" y="57150"/>
                  </a:lnTo>
                  <a:lnTo>
                    <a:pt x="1246782" y="101600"/>
                  </a:lnTo>
                  <a:lnTo>
                    <a:pt x="1215032" y="171450"/>
                  </a:lnTo>
                  <a:lnTo>
                    <a:pt x="1361082" y="234950"/>
                  </a:lnTo>
                  <a:lnTo>
                    <a:pt x="1494432" y="222250"/>
                  </a:lnTo>
                  <a:lnTo>
                    <a:pt x="1519832" y="279400"/>
                  </a:lnTo>
                  <a:lnTo>
                    <a:pt x="1589682" y="254000"/>
                  </a:lnTo>
                  <a:lnTo>
                    <a:pt x="1634132" y="342900"/>
                  </a:lnTo>
                  <a:lnTo>
                    <a:pt x="1576982" y="438150"/>
                  </a:lnTo>
                  <a:lnTo>
                    <a:pt x="1621432" y="596900"/>
                  </a:lnTo>
                  <a:lnTo>
                    <a:pt x="1538882" y="654050"/>
                  </a:lnTo>
                  <a:lnTo>
                    <a:pt x="1519832" y="781050"/>
                  </a:lnTo>
                  <a:lnTo>
                    <a:pt x="1570632" y="844550"/>
                  </a:lnTo>
                  <a:lnTo>
                    <a:pt x="1608732" y="781050"/>
                  </a:lnTo>
                  <a:lnTo>
                    <a:pt x="1691282" y="850900"/>
                  </a:lnTo>
                  <a:lnTo>
                    <a:pt x="1659532" y="971550"/>
                  </a:lnTo>
                  <a:lnTo>
                    <a:pt x="1602382" y="1346200"/>
                  </a:lnTo>
                  <a:lnTo>
                    <a:pt x="1780182" y="1593850"/>
                  </a:lnTo>
                  <a:lnTo>
                    <a:pt x="1843682" y="1562100"/>
                  </a:lnTo>
                  <a:lnTo>
                    <a:pt x="1945282" y="1651000"/>
                  </a:lnTo>
                  <a:lnTo>
                    <a:pt x="2021482" y="1574800"/>
                  </a:lnTo>
                  <a:lnTo>
                    <a:pt x="2396132" y="1790700"/>
                  </a:lnTo>
                  <a:lnTo>
                    <a:pt x="2478682" y="1797050"/>
                  </a:lnTo>
                  <a:lnTo>
                    <a:pt x="2497732" y="2051050"/>
                  </a:lnTo>
                  <a:lnTo>
                    <a:pt x="2421532" y="2133600"/>
                  </a:lnTo>
                  <a:lnTo>
                    <a:pt x="2424284" y="2169372"/>
                  </a:lnTo>
                  <a:lnTo>
                    <a:pt x="2412642" y="2171700"/>
                  </a:lnTo>
                  <a:lnTo>
                    <a:pt x="2283102" y="2194560"/>
                  </a:lnTo>
                  <a:lnTo>
                    <a:pt x="2214522" y="2118360"/>
                  </a:lnTo>
                  <a:lnTo>
                    <a:pt x="2054502" y="2141220"/>
                  </a:lnTo>
                  <a:lnTo>
                    <a:pt x="2024022" y="2202180"/>
                  </a:lnTo>
                  <a:lnTo>
                    <a:pt x="1886862" y="2232660"/>
                  </a:lnTo>
                  <a:lnTo>
                    <a:pt x="1597302" y="2324100"/>
                  </a:lnTo>
                  <a:lnTo>
                    <a:pt x="1551582" y="2446020"/>
                  </a:lnTo>
                  <a:lnTo>
                    <a:pt x="1582062" y="2506980"/>
                  </a:lnTo>
                  <a:lnTo>
                    <a:pt x="1566822" y="2682240"/>
                  </a:lnTo>
                  <a:lnTo>
                    <a:pt x="1582062" y="2887980"/>
                  </a:lnTo>
                  <a:lnTo>
                    <a:pt x="1673502" y="3032760"/>
                  </a:lnTo>
                  <a:lnTo>
                    <a:pt x="1612542" y="3063240"/>
                  </a:lnTo>
                  <a:lnTo>
                    <a:pt x="1696362" y="3131820"/>
                  </a:lnTo>
                  <a:lnTo>
                    <a:pt x="1604922" y="3238500"/>
                  </a:lnTo>
                  <a:lnTo>
                    <a:pt x="1422042" y="3200400"/>
                  </a:lnTo>
                  <a:lnTo>
                    <a:pt x="1315362" y="3093720"/>
                  </a:lnTo>
                  <a:lnTo>
                    <a:pt x="1155342" y="3078480"/>
                  </a:lnTo>
                  <a:lnTo>
                    <a:pt x="995322" y="2971800"/>
                  </a:lnTo>
                  <a:lnTo>
                    <a:pt x="926742" y="3025140"/>
                  </a:lnTo>
                  <a:lnTo>
                    <a:pt x="873402" y="2857500"/>
                  </a:lnTo>
                  <a:lnTo>
                    <a:pt x="812442" y="2857500"/>
                  </a:lnTo>
                  <a:lnTo>
                    <a:pt x="827682" y="2796540"/>
                  </a:lnTo>
                  <a:lnTo>
                    <a:pt x="896262" y="2697480"/>
                  </a:lnTo>
                  <a:lnTo>
                    <a:pt x="789582" y="2560320"/>
                  </a:lnTo>
                  <a:lnTo>
                    <a:pt x="446682" y="2529840"/>
                  </a:lnTo>
                  <a:lnTo>
                    <a:pt x="370482" y="2316480"/>
                  </a:lnTo>
                  <a:lnTo>
                    <a:pt x="385722" y="2217420"/>
                  </a:lnTo>
                  <a:lnTo>
                    <a:pt x="137588" y="2187343"/>
                  </a:lnTo>
                  <a:lnTo>
                    <a:pt x="139700" y="2184079"/>
                  </a:lnTo>
                  <a:lnTo>
                    <a:pt x="44450" y="1968179"/>
                  </a:lnTo>
                  <a:lnTo>
                    <a:pt x="19050" y="1879279"/>
                  </a:lnTo>
                  <a:lnTo>
                    <a:pt x="101600" y="1771329"/>
                  </a:lnTo>
                  <a:lnTo>
                    <a:pt x="57150" y="1726879"/>
                  </a:lnTo>
                  <a:lnTo>
                    <a:pt x="63500" y="1688779"/>
                  </a:lnTo>
                  <a:lnTo>
                    <a:pt x="0" y="1618929"/>
                  </a:lnTo>
                  <a:lnTo>
                    <a:pt x="114300" y="1542729"/>
                  </a:lnTo>
                  <a:lnTo>
                    <a:pt x="381000" y="1536379"/>
                  </a:lnTo>
                  <a:lnTo>
                    <a:pt x="368300" y="1441129"/>
                  </a:lnTo>
                  <a:lnTo>
                    <a:pt x="476250" y="1390329"/>
                  </a:lnTo>
                  <a:lnTo>
                    <a:pt x="425450" y="1352229"/>
                  </a:lnTo>
                  <a:lnTo>
                    <a:pt x="508000" y="1237929"/>
                  </a:lnTo>
                  <a:lnTo>
                    <a:pt x="450850" y="1180779"/>
                  </a:lnTo>
                  <a:lnTo>
                    <a:pt x="469900" y="1136329"/>
                  </a:lnTo>
                  <a:lnTo>
                    <a:pt x="419100" y="1091879"/>
                  </a:lnTo>
                  <a:lnTo>
                    <a:pt x="501650" y="1060129"/>
                  </a:lnTo>
                  <a:lnTo>
                    <a:pt x="361950" y="882329"/>
                  </a:lnTo>
                  <a:lnTo>
                    <a:pt x="400050" y="844229"/>
                  </a:lnTo>
                  <a:lnTo>
                    <a:pt x="425450" y="837879"/>
                  </a:lnTo>
                  <a:lnTo>
                    <a:pt x="368300" y="717229"/>
                  </a:lnTo>
                  <a:lnTo>
                    <a:pt x="393700" y="647379"/>
                  </a:lnTo>
                  <a:lnTo>
                    <a:pt x="393700" y="615629"/>
                  </a:lnTo>
                  <a:lnTo>
                    <a:pt x="342900" y="666429"/>
                  </a:lnTo>
                  <a:lnTo>
                    <a:pt x="215900" y="456879"/>
                  </a:lnTo>
                  <a:lnTo>
                    <a:pt x="203200" y="304479"/>
                  </a:lnTo>
                  <a:lnTo>
                    <a:pt x="374650" y="285429"/>
                  </a:lnTo>
                  <a:lnTo>
                    <a:pt x="419100" y="190180"/>
                  </a:lnTo>
                  <a:lnTo>
                    <a:pt x="514350" y="183829"/>
                  </a:lnTo>
                  <a:lnTo>
                    <a:pt x="527050" y="234629"/>
                  </a:lnTo>
                  <a:lnTo>
                    <a:pt x="698500" y="260029"/>
                  </a:lnTo>
                  <a:lnTo>
                    <a:pt x="889000" y="139379"/>
                  </a:lnTo>
                  <a:lnTo>
                    <a:pt x="920750" y="44129"/>
                  </a:lnTo>
                  <a:lnTo>
                    <a:pt x="959469" y="5410"/>
                  </a:lnTo>
                  <a:close/>
                </a:path>
              </a:pathLst>
            </a:custGeom>
            <a:solidFill>
              <a:schemeClr val="bg2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5" name="_Map_Sachsen">
              <a:extLst>
                <a:ext uri="{FF2B5EF4-FFF2-40B4-BE49-F238E27FC236}">
                  <a16:creationId xmlns:a16="http://schemas.microsoft.com/office/drawing/2014/main" id="{13E80890-A215-4ED5-848A-BC6EB63FD7EC}"/>
                </a:ext>
              </a:extLst>
            </p:cNvPr>
            <p:cNvSpPr/>
            <p:nvPr>
              <p:custDataLst>
                <p:tags r:id="rId13"/>
              </p:custDataLst>
            </p:nvPr>
          </p:nvSpPr>
          <p:spPr bwMode="gray">
            <a:xfrm>
              <a:off x="7918071" y="3593598"/>
              <a:ext cx="1208795" cy="949122"/>
            </a:xfrm>
            <a:custGeom>
              <a:avLst/>
              <a:gdLst>
                <a:gd name="connsiteX0" fmla="*/ 910590 w 2983310"/>
                <a:gd name="connsiteY0" fmla="*/ 178699 h 2521131"/>
                <a:gd name="connsiteX1" fmla="*/ 979170 w 2983310"/>
                <a:gd name="connsiteY1" fmla="*/ 254899 h 2521131"/>
                <a:gd name="connsiteX2" fmla="*/ 1108710 w 2983310"/>
                <a:gd name="connsiteY2" fmla="*/ 232039 h 2521131"/>
                <a:gd name="connsiteX3" fmla="*/ 1120352 w 2983310"/>
                <a:gd name="connsiteY3" fmla="*/ 229711 h 2521131"/>
                <a:gd name="connsiteX4" fmla="*/ 1123950 w 2983310"/>
                <a:gd name="connsiteY4" fmla="*/ 276489 h 2521131"/>
                <a:gd name="connsiteX5" fmla="*/ 1168400 w 2983310"/>
                <a:gd name="connsiteY5" fmla="*/ 276489 h 2521131"/>
                <a:gd name="connsiteX6" fmla="*/ 1219200 w 2983310"/>
                <a:gd name="connsiteY6" fmla="*/ 378089 h 2521131"/>
                <a:gd name="connsiteX7" fmla="*/ 1200150 w 2983310"/>
                <a:gd name="connsiteY7" fmla="*/ 536839 h 2521131"/>
                <a:gd name="connsiteX8" fmla="*/ 1257300 w 2983310"/>
                <a:gd name="connsiteY8" fmla="*/ 593989 h 2521131"/>
                <a:gd name="connsiteX9" fmla="*/ 1384300 w 2983310"/>
                <a:gd name="connsiteY9" fmla="*/ 530489 h 2521131"/>
                <a:gd name="connsiteX10" fmla="*/ 1435100 w 2983310"/>
                <a:gd name="connsiteY10" fmla="*/ 524139 h 2521131"/>
                <a:gd name="connsiteX11" fmla="*/ 1568450 w 2983310"/>
                <a:gd name="connsiteY11" fmla="*/ 625739 h 2521131"/>
                <a:gd name="connsiteX12" fmla="*/ 1962150 w 2983310"/>
                <a:gd name="connsiteY12" fmla="*/ 619389 h 2521131"/>
                <a:gd name="connsiteX13" fmla="*/ 2108200 w 2983310"/>
                <a:gd name="connsiteY13" fmla="*/ 359039 h 2521131"/>
                <a:gd name="connsiteX14" fmla="*/ 2286000 w 2983310"/>
                <a:gd name="connsiteY14" fmla="*/ 416189 h 2521131"/>
                <a:gd name="connsiteX15" fmla="*/ 2527300 w 2983310"/>
                <a:gd name="connsiteY15" fmla="*/ 320939 h 2521131"/>
                <a:gd name="connsiteX16" fmla="*/ 2546350 w 2983310"/>
                <a:gd name="connsiteY16" fmla="*/ 359039 h 2521131"/>
                <a:gd name="connsiteX17" fmla="*/ 2711450 w 2983310"/>
                <a:gd name="connsiteY17" fmla="*/ 276489 h 2521131"/>
                <a:gd name="connsiteX18" fmla="*/ 2737266 w 2983310"/>
                <a:gd name="connsiteY18" fmla="*/ 289397 h 2521131"/>
                <a:gd name="connsiteX19" fmla="*/ 2747998 w 2983310"/>
                <a:gd name="connsiteY19" fmla="*/ 450384 h 2521131"/>
                <a:gd name="connsiteX20" fmla="*/ 2983310 w 2983310"/>
                <a:gd name="connsiteY20" fmla="*/ 481759 h 2521131"/>
                <a:gd name="connsiteX21" fmla="*/ 2951935 w 2983310"/>
                <a:gd name="connsiteY21" fmla="*/ 638634 h 2521131"/>
                <a:gd name="connsiteX22" fmla="*/ 2983310 w 2983310"/>
                <a:gd name="connsiteY22" fmla="*/ 842571 h 2521131"/>
                <a:gd name="connsiteX23" fmla="*/ 2951935 w 2983310"/>
                <a:gd name="connsiteY23" fmla="*/ 1077883 h 2521131"/>
                <a:gd name="connsiteX24" fmla="*/ 2842123 w 2983310"/>
                <a:gd name="connsiteY24" fmla="*/ 1407320 h 2521131"/>
                <a:gd name="connsiteX25" fmla="*/ 2834882 w 2983310"/>
                <a:gd name="connsiteY25" fmla="*/ 1477311 h 2521131"/>
                <a:gd name="connsiteX26" fmla="*/ 2826435 w 2983310"/>
                <a:gd name="connsiteY26" fmla="*/ 1470070 h 2521131"/>
                <a:gd name="connsiteX27" fmla="*/ 2693092 w 2983310"/>
                <a:gd name="connsiteY27" fmla="*/ 1524976 h 2521131"/>
                <a:gd name="connsiteX28" fmla="*/ 2630342 w 2983310"/>
                <a:gd name="connsiteY28" fmla="*/ 1368102 h 2521131"/>
                <a:gd name="connsiteX29" fmla="*/ 2575436 w 2983310"/>
                <a:gd name="connsiteY29" fmla="*/ 1305352 h 2521131"/>
                <a:gd name="connsiteX30" fmla="*/ 2520530 w 2983310"/>
                <a:gd name="connsiteY30" fmla="*/ 1117102 h 2521131"/>
                <a:gd name="connsiteX31" fmla="*/ 2308750 w 2983310"/>
                <a:gd name="connsiteY31" fmla="*/ 1211227 h 2521131"/>
                <a:gd name="connsiteX32" fmla="*/ 2347968 w 2983310"/>
                <a:gd name="connsiteY32" fmla="*/ 1336727 h 2521131"/>
                <a:gd name="connsiteX33" fmla="*/ 2410718 w 2983310"/>
                <a:gd name="connsiteY33" fmla="*/ 1399477 h 2521131"/>
                <a:gd name="connsiteX34" fmla="*/ 2285218 w 2983310"/>
                <a:gd name="connsiteY34" fmla="*/ 1470070 h 2521131"/>
                <a:gd name="connsiteX35" fmla="*/ 1971469 w 2983310"/>
                <a:gd name="connsiteY35" fmla="*/ 1579883 h 2521131"/>
                <a:gd name="connsiteX36" fmla="*/ 1916563 w 2983310"/>
                <a:gd name="connsiteY36" fmla="*/ 1666164 h 2521131"/>
                <a:gd name="connsiteX37" fmla="*/ 1579283 w 2983310"/>
                <a:gd name="connsiteY37" fmla="*/ 1705382 h 2521131"/>
                <a:gd name="connsiteX38" fmla="*/ 1485158 w 2983310"/>
                <a:gd name="connsiteY38" fmla="*/ 1854413 h 2521131"/>
                <a:gd name="connsiteX39" fmla="*/ 1398877 w 2983310"/>
                <a:gd name="connsiteY39" fmla="*/ 1830882 h 2521131"/>
                <a:gd name="connsiteX40" fmla="*/ 1304752 w 2983310"/>
                <a:gd name="connsiteY40" fmla="*/ 1940695 h 2521131"/>
                <a:gd name="connsiteX41" fmla="*/ 1234159 w 2983310"/>
                <a:gd name="connsiteY41" fmla="*/ 2042663 h 2521131"/>
                <a:gd name="connsiteX42" fmla="*/ 1069440 w 2983310"/>
                <a:gd name="connsiteY42" fmla="*/ 1979913 h 2521131"/>
                <a:gd name="connsiteX43" fmla="*/ 1053753 w 2983310"/>
                <a:gd name="connsiteY43" fmla="*/ 2160319 h 2521131"/>
                <a:gd name="connsiteX44" fmla="*/ 896878 w 2983310"/>
                <a:gd name="connsiteY44" fmla="*/ 2081882 h 2521131"/>
                <a:gd name="connsiteX45" fmla="*/ 763535 w 2983310"/>
                <a:gd name="connsiteY45" fmla="*/ 2176007 h 2521131"/>
                <a:gd name="connsiteX46" fmla="*/ 606660 w 2983310"/>
                <a:gd name="connsiteY46" fmla="*/ 2168163 h 2521131"/>
                <a:gd name="connsiteX47" fmla="*/ 418411 w 2983310"/>
                <a:gd name="connsiteY47" fmla="*/ 2411319 h 2521131"/>
                <a:gd name="connsiteX48" fmla="*/ 418411 w 2983310"/>
                <a:gd name="connsiteY48" fmla="*/ 2521131 h 2521131"/>
                <a:gd name="connsiteX49" fmla="*/ 343508 w 2983310"/>
                <a:gd name="connsiteY49" fmla="*/ 2412523 h 2521131"/>
                <a:gd name="connsiteX50" fmla="*/ 304800 w 2983310"/>
                <a:gd name="connsiteY50" fmla="*/ 2257689 h 2521131"/>
                <a:gd name="connsiteX51" fmla="*/ 222250 w 2983310"/>
                <a:gd name="connsiteY51" fmla="*/ 2238639 h 2521131"/>
                <a:gd name="connsiteX52" fmla="*/ 107950 w 2983310"/>
                <a:gd name="connsiteY52" fmla="*/ 2213239 h 2521131"/>
                <a:gd name="connsiteX53" fmla="*/ 38100 w 2983310"/>
                <a:gd name="connsiteY53" fmla="*/ 2054489 h 2521131"/>
                <a:gd name="connsiteX54" fmla="*/ 95250 w 2983310"/>
                <a:gd name="connsiteY54" fmla="*/ 1984639 h 2521131"/>
                <a:gd name="connsiteX55" fmla="*/ 38100 w 2983310"/>
                <a:gd name="connsiteY55" fmla="*/ 1946539 h 2521131"/>
                <a:gd name="connsiteX56" fmla="*/ 0 w 2983310"/>
                <a:gd name="connsiteY56" fmla="*/ 1902089 h 2521131"/>
                <a:gd name="connsiteX57" fmla="*/ 88900 w 2983310"/>
                <a:gd name="connsiteY57" fmla="*/ 1775089 h 2521131"/>
                <a:gd name="connsiteX58" fmla="*/ 120650 w 2983310"/>
                <a:gd name="connsiteY58" fmla="*/ 1883039 h 2521131"/>
                <a:gd name="connsiteX59" fmla="*/ 234950 w 2983310"/>
                <a:gd name="connsiteY59" fmla="*/ 1876689 h 2521131"/>
                <a:gd name="connsiteX60" fmla="*/ 234950 w 2983310"/>
                <a:gd name="connsiteY60" fmla="*/ 1825889 h 2521131"/>
                <a:gd name="connsiteX61" fmla="*/ 266700 w 2983310"/>
                <a:gd name="connsiteY61" fmla="*/ 1762389 h 2521131"/>
                <a:gd name="connsiteX62" fmla="*/ 336550 w 2983310"/>
                <a:gd name="connsiteY62" fmla="*/ 1762389 h 2521131"/>
                <a:gd name="connsiteX63" fmla="*/ 381000 w 2983310"/>
                <a:gd name="connsiteY63" fmla="*/ 1717939 h 2521131"/>
                <a:gd name="connsiteX64" fmla="*/ 323850 w 2983310"/>
                <a:gd name="connsiteY64" fmla="*/ 1584589 h 2521131"/>
                <a:gd name="connsiteX65" fmla="*/ 342900 w 2983310"/>
                <a:gd name="connsiteY65" fmla="*/ 1508389 h 2521131"/>
                <a:gd name="connsiteX66" fmla="*/ 444500 w 2983310"/>
                <a:gd name="connsiteY66" fmla="*/ 1432189 h 2521131"/>
                <a:gd name="connsiteX67" fmla="*/ 501650 w 2983310"/>
                <a:gd name="connsiteY67" fmla="*/ 1451239 h 2521131"/>
                <a:gd name="connsiteX68" fmla="*/ 571500 w 2983310"/>
                <a:gd name="connsiteY68" fmla="*/ 1355989 h 2521131"/>
                <a:gd name="connsiteX69" fmla="*/ 742950 w 2983310"/>
                <a:gd name="connsiteY69" fmla="*/ 1349639 h 2521131"/>
                <a:gd name="connsiteX70" fmla="*/ 641350 w 2983310"/>
                <a:gd name="connsiteY70" fmla="*/ 1228989 h 2521131"/>
                <a:gd name="connsiteX71" fmla="*/ 539750 w 2983310"/>
                <a:gd name="connsiteY71" fmla="*/ 1089289 h 2521131"/>
                <a:gd name="connsiteX72" fmla="*/ 367164 w 2983310"/>
                <a:gd name="connsiteY72" fmla="*/ 1089289 h 2521131"/>
                <a:gd name="connsiteX73" fmla="*/ 278130 w 2983310"/>
                <a:gd name="connsiteY73" fmla="*/ 948319 h 2521131"/>
                <a:gd name="connsiteX74" fmla="*/ 262890 w 2983310"/>
                <a:gd name="connsiteY74" fmla="*/ 742579 h 2521131"/>
                <a:gd name="connsiteX75" fmla="*/ 278130 w 2983310"/>
                <a:gd name="connsiteY75" fmla="*/ 567319 h 2521131"/>
                <a:gd name="connsiteX76" fmla="*/ 247650 w 2983310"/>
                <a:gd name="connsiteY76" fmla="*/ 506359 h 2521131"/>
                <a:gd name="connsiteX77" fmla="*/ 293370 w 2983310"/>
                <a:gd name="connsiteY77" fmla="*/ 384439 h 2521131"/>
                <a:gd name="connsiteX78" fmla="*/ 582930 w 2983310"/>
                <a:gd name="connsiteY78" fmla="*/ 292999 h 2521131"/>
                <a:gd name="connsiteX79" fmla="*/ 720090 w 2983310"/>
                <a:gd name="connsiteY79" fmla="*/ 262519 h 2521131"/>
                <a:gd name="connsiteX80" fmla="*/ 750570 w 2983310"/>
                <a:gd name="connsiteY80" fmla="*/ 201559 h 2521131"/>
                <a:gd name="connsiteX81" fmla="*/ 1185446 w 2983310"/>
                <a:gd name="connsiteY81" fmla="*/ 0 h 2521131"/>
                <a:gd name="connsiteX82" fmla="*/ 1193800 w 2983310"/>
                <a:gd name="connsiteY82" fmla="*/ 111389 h 2521131"/>
                <a:gd name="connsiteX83" fmla="*/ 1185446 w 2983310"/>
                <a:gd name="connsiteY83" fmla="*/ 0 h 2521131"/>
                <a:gd name="connsiteX0" fmla="*/ 910590 w 2983310"/>
                <a:gd name="connsiteY0" fmla="*/ 0 h 2342432"/>
                <a:gd name="connsiteX1" fmla="*/ 979170 w 2983310"/>
                <a:gd name="connsiteY1" fmla="*/ 76200 h 2342432"/>
                <a:gd name="connsiteX2" fmla="*/ 1108710 w 2983310"/>
                <a:gd name="connsiteY2" fmla="*/ 53340 h 2342432"/>
                <a:gd name="connsiteX3" fmla="*/ 1120352 w 2983310"/>
                <a:gd name="connsiteY3" fmla="*/ 51012 h 2342432"/>
                <a:gd name="connsiteX4" fmla="*/ 1123950 w 2983310"/>
                <a:gd name="connsiteY4" fmla="*/ 97790 h 2342432"/>
                <a:gd name="connsiteX5" fmla="*/ 1168400 w 2983310"/>
                <a:gd name="connsiteY5" fmla="*/ 97790 h 2342432"/>
                <a:gd name="connsiteX6" fmla="*/ 1219200 w 2983310"/>
                <a:gd name="connsiteY6" fmla="*/ 199390 h 2342432"/>
                <a:gd name="connsiteX7" fmla="*/ 1200150 w 2983310"/>
                <a:gd name="connsiteY7" fmla="*/ 358140 h 2342432"/>
                <a:gd name="connsiteX8" fmla="*/ 1257300 w 2983310"/>
                <a:gd name="connsiteY8" fmla="*/ 415290 h 2342432"/>
                <a:gd name="connsiteX9" fmla="*/ 1384300 w 2983310"/>
                <a:gd name="connsiteY9" fmla="*/ 351790 h 2342432"/>
                <a:gd name="connsiteX10" fmla="*/ 1435100 w 2983310"/>
                <a:gd name="connsiteY10" fmla="*/ 345440 h 2342432"/>
                <a:gd name="connsiteX11" fmla="*/ 1568450 w 2983310"/>
                <a:gd name="connsiteY11" fmla="*/ 447040 h 2342432"/>
                <a:gd name="connsiteX12" fmla="*/ 1962150 w 2983310"/>
                <a:gd name="connsiteY12" fmla="*/ 440690 h 2342432"/>
                <a:gd name="connsiteX13" fmla="*/ 2108200 w 2983310"/>
                <a:gd name="connsiteY13" fmla="*/ 180340 h 2342432"/>
                <a:gd name="connsiteX14" fmla="*/ 2286000 w 2983310"/>
                <a:gd name="connsiteY14" fmla="*/ 237490 h 2342432"/>
                <a:gd name="connsiteX15" fmla="*/ 2527300 w 2983310"/>
                <a:gd name="connsiteY15" fmla="*/ 142240 h 2342432"/>
                <a:gd name="connsiteX16" fmla="*/ 2546350 w 2983310"/>
                <a:gd name="connsiteY16" fmla="*/ 180340 h 2342432"/>
                <a:gd name="connsiteX17" fmla="*/ 2711450 w 2983310"/>
                <a:gd name="connsiteY17" fmla="*/ 97790 h 2342432"/>
                <a:gd name="connsiteX18" fmla="*/ 2737266 w 2983310"/>
                <a:gd name="connsiteY18" fmla="*/ 110698 h 2342432"/>
                <a:gd name="connsiteX19" fmla="*/ 2747998 w 2983310"/>
                <a:gd name="connsiteY19" fmla="*/ 271685 h 2342432"/>
                <a:gd name="connsiteX20" fmla="*/ 2983310 w 2983310"/>
                <a:gd name="connsiteY20" fmla="*/ 303060 h 2342432"/>
                <a:gd name="connsiteX21" fmla="*/ 2951935 w 2983310"/>
                <a:gd name="connsiteY21" fmla="*/ 459935 h 2342432"/>
                <a:gd name="connsiteX22" fmla="*/ 2983310 w 2983310"/>
                <a:gd name="connsiteY22" fmla="*/ 663872 h 2342432"/>
                <a:gd name="connsiteX23" fmla="*/ 2951935 w 2983310"/>
                <a:gd name="connsiteY23" fmla="*/ 899184 h 2342432"/>
                <a:gd name="connsiteX24" fmla="*/ 2842123 w 2983310"/>
                <a:gd name="connsiteY24" fmla="*/ 1228621 h 2342432"/>
                <a:gd name="connsiteX25" fmla="*/ 2834882 w 2983310"/>
                <a:gd name="connsiteY25" fmla="*/ 1298612 h 2342432"/>
                <a:gd name="connsiteX26" fmla="*/ 2826435 w 2983310"/>
                <a:gd name="connsiteY26" fmla="*/ 1291371 h 2342432"/>
                <a:gd name="connsiteX27" fmla="*/ 2693092 w 2983310"/>
                <a:gd name="connsiteY27" fmla="*/ 1346277 h 2342432"/>
                <a:gd name="connsiteX28" fmla="*/ 2630342 w 2983310"/>
                <a:gd name="connsiteY28" fmla="*/ 1189403 h 2342432"/>
                <a:gd name="connsiteX29" fmla="*/ 2575436 w 2983310"/>
                <a:gd name="connsiteY29" fmla="*/ 1126653 h 2342432"/>
                <a:gd name="connsiteX30" fmla="*/ 2520530 w 2983310"/>
                <a:gd name="connsiteY30" fmla="*/ 938403 h 2342432"/>
                <a:gd name="connsiteX31" fmla="*/ 2308750 w 2983310"/>
                <a:gd name="connsiteY31" fmla="*/ 1032528 h 2342432"/>
                <a:gd name="connsiteX32" fmla="*/ 2347968 w 2983310"/>
                <a:gd name="connsiteY32" fmla="*/ 1158028 h 2342432"/>
                <a:gd name="connsiteX33" fmla="*/ 2410718 w 2983310"/>
                <a:gd name="connsiteY33" fmla="*/ 1220778 h 2342432"/>
                <a:gd name="connsiteX34" fmla="*/ 2285218 w 2983310"/>
                <a:gd name="connsiteY34" fmla="*/ 1291371 h 2342432"/>
                <a:gd name="connsiteX35" fmla="*/ 1971469 w 2983310"/>
                <a:gd name="connsiteY35" fmla="*/ 1401184 h 2342432"/>
                <a:gd name="connsiteX36" fmla="*/ 1916563 w 2983310"/>
                <a:gd name="connsiteY36" fmla="*/ 1487465 h 2342432"/>
                <a:gd name="connsiteX37" fmla="*/ 1579283 w 2983310"/>
                <a:gd name="connsiteY37" fmla="*/ 1526683 h 2342432"/>
                <a:gd name="connsiteX38" fmla="*/ 1485158 w 2983310"/>
                <a:gd name="connsiteY38" fmla="*/ 1675714 h 2342432"/>
                <a:gd name="connsiteX39" fmla="*/ 1398877 w 2983310"/>
                <a:gd name="connsiteY39" fmla="*/ 1652183 h 2342432"/>
                <a:gd name="connsiteX40" fmla="*/ 1304752 w 2983310"/>
                <a:gd name="connsiteY40" fmla="*/ 1761996 h 2342432"/>
                <a:gd name="connsiteX41" fmla="*/ 1234159 w 2983310"/>
                <a:gd name="connsiteY41" fmla="*/ 1863964 h 2342432"/>
                <a:gd name="connsiteX42" fmla="*/ 1069440 w 2983310"/>
                <a:gd name="connsiteY42" fmla="*/ 1801214 h 2342432"/>
                <a:gd name="connsiteX43" fmla="*/ 1053753 w 2983310"/>
                <a:gd name="connsiteY43" fmla="*/ 1981620 h 2342432"/>
                <a:gd name="connsiteX44" fmla="*/ 896878 w 2983310"/>
                <a:gd name="connsiteY44" fmla="*/ 1903183 h 2342432"/>
                <a:gd name="connsiteX45" fmla="*/ 763535 w 2983310"/>
                <a:gd name="connsiteY45" fmla="*/ 1997308 h 2342432"/>
                <a:gd name="connsiteX46" fmla="*/ 606660 w 2983310"/>
                <a:gd name="connsiteY46" fmla="*/ 1989464 h 2342432"/>
                <a:gd name="connsiteX47" fmla="*/ 418411 w 2983310"/>
                <a:gd name="connsiteY47" fmla="*/ 2232620 h 2342432"/>
                <a:gd name="connsiteX48" fmla="*/ 418411 w 2983310"/>
                <a:gd name="connsiteY48" fmla="*/ 2342432 h 2342432"/>
                <a:gd name="connsiteX49" fmla="*/ 343508 w 2983310"/>
                <a:gd name="connsiteY49" fmla="*/ 2233824 h 2342432"/>
                <a:gd name="connsiteX50" fmla="*/ 304800 w 2983310"/>
                <a:gd name="connsiteY50" fmla="*/ 2078990 h 2342432"/>
                <a:gd name="connsiteX51" fmla="*/ 222250 w 2983310"/>
                <a:gd name="connsiteY51" fmla="*/ 2059940 h 2342432"/>
                <a:gd name="connsiteX52" fmla="*/ 107950 w 2983310"/>
                <a:gd name="connsiteY52" fmla="*/ 2034540 h 2342432"/>
                <a:gd name="connsiteX53" fmla="*/ 38100 w 2983310"/>
                <a:gd name="connsiteY53" fmla="*/ 1875790 h 2342432"/>
                <a:gd name="connsiteX54" fmla="*/ 95250 w 2983310"/>
                <a:gd name="connsiteY54" fmla="*/ 1805940 h 2342432"/>
                <a:gd name="connsiteX55" fmla="*/ 38100 w 2983310"/>
                <a:gd name="connsiteY55" fmla="*/ 1767840 h 2342432"/>
                <a:gd name="connsiteX56" fmla="*/ 0 w 2983310"/>
                <a:gd name="connsiteY56" fmla="*/ 1723390 h 2342432"/>
                <a:gd name="connsiteX57" fmla="*/ 88900 w 2983310"/>
                <a:gd name="connsiteY57" fmla="*/ 1596390 h 2342432"/>
                <a:gd name="connsiteX58" fmla="*/ 120650 w 2983310"/>
                <a:gd name="connsiteY58" fmla="*/ 1704340 h 2342432"/>
                <a:gd name="connsiteX59" fmla="*/ 234950 w 2983310"/>
                <a:gd name="connsiteY59" fmla="*/ 1697990 h 2342432"/>
                <a:gd name="connsiteX60" fmla="*/ 234950 w 2983310"/>
                <a:gd name="connsiteY60" fmla="*/ 1647190 h 2342432"/>
                <a:gd name="connsiteX61" fmla="*/ 266700 w 2983310"/>
                <a:gd name="connsiteY61" fmla="*/ 1583690 h 2342432"/>
                <a:gd name="connsiteX62" fmla="*/ 336550 w 2983310"/>
                <a:gd name="connsiteY62" fmla="*/ 1583690 h 2342432"/>
                <a:gd name="connsiteX63" fmla="*/ 381000 w 2983310"/>
                <a:gd name="connsiteY63" fmla="*/ 1539240 h 2342432"/>
                <a:gd name="connsiteX64" fmla="*/ 323850 w 2983310"/>
                <a:gd name="connsiteY64" fmla="*/ 1405890 h 2342432"/>
                <a:gd name="connsiteX65" fmla="*/ 342900 w 2983310"/>
                <a:gd name="connsiteY65" fmla="*/ 1329690 h 2342432"/>
                <a:gd name="connsiteX66" fmla="*/ 444500 w 2983310"/>
                <a:gd name="connsiteY66" fmla="*/ 1253490 h 2342432"/>
                <a:gd name="connsiteX67" fmla="*/ 501650 w 2983310"/>
                <a:gd name="connsiteY67" fmla="*/ 1272540 h 2342432"/>
                <a:gd name="connsiteX68" fmla="*/ 571500 w 2983310"/>
                <a:gd name="connsiteY68" fmla="*/ 1177290 h 2342432"/>
                <a:gd name="connsiteX69" fmla="*/ 742950 w 2983310"/>
                <a:gd name="connsiteY69" fmla="*/ 1170940 h 2342432"/>
                <a:gd name="connsiteX70" fmla="*/ 641350 w 2983310"/>
                <a:gd name="connsiteY70" fmla="*/ 1050290 h 2342432"/>
                <a:gd name="connsiteX71" fmla="*/ 539750 w 2983310"/>
                <a:gd name="connsiteY71" fmla="*/ 910590 h 2342432"/>
                <a:gd name="connsiteX72" fmla="*/ 367164 w 2983310"/>
                <a:gd name="connsiteY72" fmla="*/ 910590 h 2342432"/>
                <a:gd name="connsiteX73" fmla="*/ 278130 w 2983310"/>
                <a:gd name="connsiteY73" fmla="*/ 769620 h 2342432"/>
                <a:gd name="connsiteX74" fmla="*/ 262890 w 2983310"/>
                <a:gd name="connsiteY74" fmla="*/ 563880 h 2342432"/>
                <a:gd name="connsiteX75" fmla="*/ 278130 w 2983310"/>
                <a:gd name="connsiteY75" fmla="*/ 388620 h 2342432"/>
                <a:gd name="connsiteX76" fmla="*/ 247650 w 2983310"/>
                <a:gd name="connsiteY76" fmla="*/ 327660 h 2342432"/>
                <a:gd name="connsiteX77" fmla="*/ 293370 w 2983310"/>
                <a:gd name="connsiteY77" fmla="*/ 205740 h 2342432"/>
                <a:gd name="connsiteX78" fmla="*/ 582930 w 2983310"/>
                <a:gd name="connsiteY78" fmla="*/ 114300 h 2342432"/>
                <a:gd name="connsiteX79" fmla="*/ 720090 w 2983310"/>
                <a:gd name="connsiteY79" fmla="*/ 83820 h 2342432"/>
                <a:gd name="connsiteX80" fmla="*/ 750570 w 2983310"/>
                <a:gd name="connsiteY80" fmla="*/ 22860 h 2342432"/>
                <a:gd name="connsiteX81" fmla="*/ 910590 w 2983310"/>
                <a:gd name="connsiteY81" fmla="*/ 0 h 234243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</a:cxnLst>
              <a:rect l="l" t="t" r="r" b="b"/>
              <a:pathLst>
                <a:path w="2983310" h="2342432">
                  <a:moveTo>
                    <a:pt x="910590" y="0"/>
                  </a:moveTo>
                  <a:lnTo>
                    <a:pt x="979170" y="76200"/>
                  </a:lnTo>
                  <a:lnTo>
                    <a:pt x="1108710" y="53340"/>
                  </a:lnTo>
                  <a:lnTo>
                    <a:pt x="1120352" y="51012"/>
                  </a:lnTo>
                  <a:lnTo>
                    <a:pt x="1123950" y="97790"/>
                  </a:lnTo>
                  <a:lnTo>
                    <a:pt x="1168400" y="97790"/>
                  </a:lnTo>
                  <a:lnTo>
                    <a:pt x="1219200" y="199390"/>
                  </a:lnTo>
                  <a:lnTo>
                    <a:pt x="1200150" y="358140"/>
                  </a:lnTo>
                  <a:lnTo>
                    <a:pt x="1257300" y="415290"/>
                  </a:lnTo>
                  <a:lnTo>
                    <a:pt x="1384300" y="351790"/>
                  </a:lnTo>
                  <a:lnTo>
                    <a:pt x="1435100" y="345440"/>
                  </a:lnTo>
                  <a:lnTo>
                    <a:pt x="1568450" y="447040"/>
                  </a:lnTo>
                  <a:lnTo>
                    <a:pt x="1962150" y="440690"/>
                  </a:lnTo>
                  <a:lnTo>
                    <a:pt x="2108200" y="180340"/>
                  </a:lnTo>
                  <a:lnTo>
                    <a:pt x="2286000" y="237490"/>
                  </a:lnTo>
                  <a:lnTo>
                    <a:pt x="2527300" y="142240"/>
                  </a:lnTo>
                  <a:lnTo>
                    <a:pt x="2546350" y="180340"/>
                  </a:lnTo>
                  <a:lnTo>
                    <a:pt x="2711450" y="97790"/>
                  </a:lnTo>
                  <a:lnTo>
                    <a:pt x="2737266" y="110698"/>
                  </a:lnTo>
                  <a:lnTo>
                    <a:pt x="2747998" y="271685"/>
                  </a:lnTo>
                  <a:lnTo>
                    <a:pt x="2983310" y="303060"/>
                  </a:lnTo>
                  <a:lnTo>
                    <a:pt x="2951935" y="459935"/>
                  </a:lnTo>
                  <a:lnTo>
                    <a:pt x="2983310" y="663872"/>
                  </a:lnTo>
                  <a:lnTo>
                    <a:pt x="2951935" y="899184"/>
                  </a:lnTo>
                  <a:lnTo>
                    <a:pt x="2842123" y="1228621"/>
                  </a:lnTo>
                  <a:lnTo>
                    <a:pt x="2834882" y="1298612"/>
                  </a:lnTo>
                  <a:lnTo>
                    <a:pt x="2826435" y="1291371"/>
                  </a:lnTo>
                  <a:lnTo>
                    <a:pt x="2693092" y="1346277"/>
                  </a:lnTo>
                  <a:lnTo>
                    <a:pt x="2630342" y="1189403"/>
                  </a:lnTo>
                  <a:lnTo>
                    <a:pt x="2575436" y="1126653"/>
                  </a:lnTo>
                  <a:lnTo>
                    <a:pt x="2520530" y="938403"/>
                  </a:lnTo>
                  <a:lnTo>
                    <a:pt x="2308750" y="1032528"/>
                  </a:lnTo>
                  <a:lnTo>
                    <a:pt x="2347968" y="1158028"/>
                  </a:lnTo>
                  <a:lnTo>
                    <a:pt x="2410718" y="1220778"/>
                  </a:lnTo>
                  <a:lnTo>
                    <a:pt x="2285218" y="1291371"/>
                  </a:lnTo>
                  <a:lnTo>
                    <a:pt x="1971469" y="1401184"/>
                  </a:lnTo>
                  <a:lnTo>
                    <a:pt x="1916563" y="1487465"/>
                  </a:lnTo>
                  <a:lnTo>
                    <a:pt x="1579283" y="1526683"/>
                  </a:lnTo>
                  <a:lnTo>
                    <a:pt x="1485158" y="1675714"/>
                  </a:lnTo>
                  <a:lnTo>
                    <a:pt x="1398877" y="1652183"/>
                  </a:lnTo>
                  <a:lnTo>
                    <a:pt x="1304752" y="1761996"/>
                  </a:lnTo>
                  <a:lnTo>
                    <a:pt x="1234159" y="1863964"/>
                  </a:lnTo>
                  <a:lnTo>
                    <a:pt x="1069440" y="1801214"/>
                  </a:lnTo>
                  <a:lnTo>
                    <a:pt x="1053753" y="1981620"/>
                  </a:lnTo>
                  <a:lnTo>
                    <a:pt x="896878" y="1903183"/>
                  </a:lnTo>
                  <a:lnTo>
                    <a:pt x="763535" y="1997308"/>
                  </a:lnTo>
                  <a:lnTo>
                    <a:pt x="606660" y="1989464"/>
                  </a:lnTo>
                  <a:lnTo>
                    <a:pt x="418411" y="2232620"/>
                  </a:lnTo>
                  <a:lnTo>
                    <a:pt x="418411" y="2342432"/>
                  </a:lnTo>
                  <a:lnTo>
                    <a:pt x="343508" y="2233824"/>
                  </a:lnTo>
                  <a:lnTo>
                    <a:pt x="304800" y="2078990"/>
                  </a:lnTo>
                  <a:lnTo>
                    <a:pt x="222250" y="2059940"/>
                  </a:lnTo>
                  <a:lnTo>
                    <a:pt x="107950" y="2034540"/>
                  </a:lnTo>
                  <a:lnTo>
                    <a:pt x="38100" y="1875790"/>
                  </a:lnTo>
                  <a:lnTo>
                    <a:pt x="95250" y="1805940"/>
                  </a:lnTo>
                  <a:lnTo>
                    <a:pt x="38100" y="1767840"/>
                  </a:lnTo>
                  <a:lnTo>
                    <a:pt x="0" y="1723390"/>
                  </a:lnTo>
                  <a:lnTo>
                    <a:pt x="88900" y="1596390"/>
                  </a:lnTo>
                  <a:lnTo>
                    <a:pt x="120650" y="1704340"/>
                  </a:lnTo>
                  <a:lnTo>
                    <a:pt x="234950" y="1697990"/>
                  </a:lnTo>
                  <a:lnTo>
                    <a:pt x="234950" y="1647190"/>
                  </a:lnTo>
                  <a:lnTo>
                    <a:pt x="266700" y="1583690"/>
                  </a:lnTo>
                  <a:lnTo>
                    <a:pt x="336550" y="1583690"/>
                  </a:lnTo>
                  <a:lnTo>
                    <a:pt x="381000" y="1539240"/>
                  </a:lnTo>
                  <a:lnTo>
                    <a:pt x="323850" y="1405890"/>
                  </a:lnTo>
                  <a:lnTo>
                    <a:pt x="342900" y="1329690"/>
                  </a:lnTo>
                  <a:lnTo>
                    <a:pt x="444500" y="1253490"/>
                  </a:lnTo>
                  <a:lnTo>
                    <a:pt x="501650" y="1272540"/>
                  </a:lnTo>
                  <a:lnTo>
                    <a:pt x="571500" y="1177290"/>
                  </a:lnTo>
                  <a:lnTo>
                    <a:pt x="742950" y="1170940"/>
                  </a:lnTo>
                  <a:lnTo>
                    <a:pt x="641350" y="1050290"/>
                  </a:lnTo>
                  <a:lnTo>
                    <a:pt x="539750" y="910590"/>
                  </a:lnTo>
                  <a:lnTo>
                    <a:pt x="367164" y="910590"/>
                  </a:lnTo>
                  <a:lnTo>
                    <a:pt x="278130" y="769620"/>
                  </a:lnTo>
                  <a:lnTo>
                    <a:pt x="262890" y="563880"/>
                  </a:lnTo>
                  <a:lnTo>
                    <a:pt x="278130" y="388620"/>
                  </a:lnTo>
                  <a:lnTo>
                    <a:pt x="247650" y="327660"/>
                  </a:lnTo>
                  <a:lnTo>
                    <a:pt x="293370" y="205740"/>
                  </a:lnTo>
                  <a:lnTo>
                    <a:pt x="582930" y="114300"/>
                  </a:lnTo>
                  <a:lnTo>
                    <a:pt x="720090" y="83820"/>
                  </a:lnTo>
                  <a:lnTo>
                    <a:pt x="750570" y="22860"/>
                  </a:lnTo>
                  <a:lnTo>
                    <a:pt x="910590" y="0"/>
                  </a:lnTo>
                  <a:close/>
                </a:path>
              </a:pathLst>
            </a:custGeom>
            <a:solidFill>
              <a:schemeClr val="bg1">
                <a:lumMod val="50000"/>
              </a:schemeClr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6" name="_Map_Thüringen">
              <a:extLst>
                <a:ext uri="{FF2B5EF4-FFF2-40B4-BE49-F238E27FC236}">
                  <a16:creationId xmlns:a16="http://schemas.microsoft.com/office/drawing/2014/main" id="{EC9A08DD-5730-448C-B698-09A46D316D0B}"/>
                </a:ext>
              </a:extLst>
            </p:cNvPr>
            <p:cNvSpPr/>
            <p:nvPr>
              <p:custDataLst>
                <p:tags r:id="rId14"/>
              </p:custDataLst>
            </p:nvPr>
          </p:nvSpPr>
          <p:spPr bwMode="gray">
            <a:xfrm>
              <a:off x="7133327" y="3620226"/>
              <a:ext cx="1085777" cy="880074"/>
            </a:xfrm>
            <a:custGeom>
              <a:avLst/>
              <a:gdLst>
                <a:gd name="connsiteX0" fmla="*/ 2201089 w 2679700"/>
                <a:gd name="connsiteY0" fmla="*/ 596104 h 2286625"/>
                <a:gd name="connsiteX1" fmla="*/ 2199640 w 2679700"/>
                <a:gd name="connsiteY1" fmla="*/ 612766 h 2286625"/>
                <a:gd name="connsiteX2" fmla="*/ 2199640 w 2679700"/>
                <a:gd name="connsiteY2" fmla="*/ 612765 h 2286625"/>
                <a:gd name="connsiteX3" fmla="*/ 772518 w 2679700"/>
                <a:gd name="connsiteY3" fmla="*/ 114604 h 2286625"/>
                <a:gd name="connsiteX4" fmla="*/ 770406 w 2679700"/>
                <a:gd name="connsiteY4" fmla="*/ 117868 h 2286625"/>
                <a:gd name="connsiteX5" fmla="*/ 1018540 w 2679700"/>
                <a:gd name="connsiteY5" fmla="*/ 147945 h 2286625"/>
                <a:gd name="connsiteX6" fmla="*/ 1003300 w 2679700"/>
                <a:gd name="connsiteY6" fmla="*/ 247005 h 2286625"/>
                <a:gd name="connsiteX7" fmla="*/ 1079500 w 2679700"/>
                <a:gd name="connsiteY7" fmla="*/ 460365 h 2286625"/>
                <a:gd name="connsiteX8" fmla="*/ 1422400 w 2679700"/>
                <a:gd name="connsiteY8" fmla="*/ 490845 h 2286625"/>
                <a:gd name="connsiteX9" fmla="*/ 1529080 w 2679700"/>
                <a:gd name="connsiteY9" fmla="*/ 628005 h 2286625"/>
                <a:gd name="connsiteX10" fmla="*/ 1460500 w 2679700"/>
                <a:gd name="connsiteY10" fmla="*/ 727065 h 2286625"/>
                <a:gd name="connsiteX11" fmla="*/ 1445260 w 2679700"/>
                <a:gd name="connsiteY11" fmla="*/ 788025 h 2286625"/>
                <a:gd name="connsiteX12" fmla="*/ 1506220 w 2679700"/>
                <a:gd name="connsiteY12" fmla="*/ 788025 h 2286625"/>
                <a:gd name="connsiteX13" fmla="*/ 1559560 w 2679700"/>
                <a:gd name="connsiteY13" fmla="*/ 955665 h 2286625"/>
                <a:gd name="connsiteX14" fmla="*/ 1628140 w 2679700"/>
                <a:gd name="connsiteY14" fmla="*/ 902325 h 2286625"/>
                <a:gd name="connsiteX15" fmla="*/ 1788160 w 2679700"/>
                <a:gd name="connsiteY15" fmla="*/ 1009005 h 2286625"/>
                <a:gd name="connsiteX16" fmla="*/ 1948180 w 2679700"/>
                <a:gd name="connsiteY16" fmla="*/ 1024245 h 2286625"/>
                <a:gd name="connsiteX17" fmla="*/ 2054860 w 2679700"/>
                <a:gd name="connsiteY17" fmla="*/ 1130925 h 2286625"/>
                <a:gd name="connsiteX18" fmla="*/ 2237740 w 2679700"/>
                <a:gd name="connsiteY18" fmla="*/ 1169025 h 2286625"/>
                <a:gd name="connsiteX19" fmla="*/ 2329180 w 2679700"/>
                <a:gd name="connsiteY19" fmla="*/ 1062345 h 2286625"/>
                <a:gd name="connsiteX20" fmla="*/ 2245360 w 2679700"/>
                <a:gd name="connsiteY20" fmla="*/ 993765 h 2286625"/>
                <a:gd name="connsiteX21" fmla="*/ 2306320 w 2679700"/>
                <a:gd name="connsiteY21" fmla="*/ 963285 h 2286625"/>
                <a:gd name="connsiteX22" fmla="*/ 2303915 w 2679700"/>
                <a:gd name="connsiteY22" fmla="*/ 959477 h 2286625"/>
                <a:gd name="connsiteX23" fmla="*/ 2476500 w 2679700"/>
                <a:gd name="connsiteY23" fmla="*/ 959477 h 2286625"/>
                <a:gd name="connsiteX24" fmla="*/ 2578100 w 2679700"/>
                <a:gd name="connsiteY24" fmla="*/ 1099177 h 2286625"/>
                <a:gd name="connsiteX25" fmla="*/ 2679700 w 2679700"/>
                <a:gd name="connsiteY25" fmla="*/ 1219827 h 2286625"/>
                <a:gd name="connsiteX26" fmla="*/ 2508250 w 2679700"/>
                <a:gd name="connsiteY26" fmla="*/ 1226177 h 2286625"/>
                <a:gd name="connsiteX27" fmla="*/ 2438400 w 2679700"/>
                <a:gd name="connsiteY27" fmla="*/ 1321427 h 2286625"/>
                <a:gd name="connsiteX28" fmla="*/ 2381250 w 2679700"/>
                <a:gd name="connsiteY28" fmla="*/ 1302377 h 2286625"/>
                <a:gd name="connsiteX29" fmla="*/ 2279650 w 2679700"/>
                <a:gd name="connsiteY29" fmla="*/ 1378577 h 2286625"/>
                <a:gd name="connsiteX30" fmla="*/ 2260600 w 2679700"/>
                <a:gd name="connsiteY30" fmla="*/ 1454777 h 2286625"/>
                <a:gd name="connsiteX31" fmla="*/ 2317750 w 2679700"/>
                <a:gd name="connsiteY31" fmla="*/ 1588127 h 2286625"/>
                <a:gd name="connsiteX32" fmla="*/ 2273300 w 2679700"/>
                <a:gd name="connsiteY32" fmla="*/ 1632577 h 2286625"/>
                <a:gd name="connsiteX33" fmla="*/ 2203450 w 2679700"/>
                <a:gd name="connsiteY33" fmla="*/ 1632577 h 2286625"/>
                <a:gd name="connsiteX34" fmla="*/ 2171700 w 2679700"/>
                <a:gd name="connsiteY34" fmla="*/ 1696077 h 2286625"/>
                <a:gd name="connsiteX35" fmla="*/ 2171700 w 2679700"/>
                <a:gd name="connsiteY35" fmla="*/ 1746877 h 2286625"/>
                <a:gd name="connsiteX36" fmla="*/ 2057400 w 2679700"/>
                <a:gd name="connsiteY36" fmla="*/ 1753227 h 2286625"/>
                <a:gd name="connsiteX37" fmla="*/ 2025650 w 2679700"/>
                <a:gd name="connsiteY37" fmla="*/ 1645277 h 2286625"/>
                <a:gd name="connsiteX38" fmla="*/ 1936750 w 2679700"/>
                <a:gd name="connsiteY38" fmla="*/ 1772277 h 2286625"/>
                <a:gd name="connsiteX39" fmla="*/ 1974850 w 2679700"/>
                <a:gd name="connsiteY39" fmla="*/ 1816727 h 2286625"/>
                <a:gd name="connsiteX40" fmla="*/ 2032000 w 2679700"/>
                <a:gd name="connsiteY40" fmla="*/ 1854827 h 2286625"/>
                <a:gd name="connsiteX41" fmla="*/ 1974850 w 2679700"/>
                <a:gd name="connsiteY41" fmla="*/ 1924677 h 2286625"/>
                <a:gd name="connsiteX42" fmla="*/ 1984153 w 2679700"/>
                <a:gd name="connsiteY42" fmla="*/ 1945821 h 2286625"/>
                <a:gd name="connsiteX43" fmla="*/ 1962150 w 2679700"/>
                <a:gd name="connsiteY43" fmla="*/ 1943725 h 2286625"/>
                <a:gd name="connsiteX44" fmla="*/ 1873250 w 2679700"/>
                <a:gd name="connsiteY44" fmla="*/ 1994525 h 2286625"/>
                <a:gd name="connsiteX45" fmla="*/ 1828800 w 2679700"/>
                <a:gd name="connsiteY45" fmla="*/ 1956425 h 2286625"/>
                <a:gd name="connsiteX46" fmla="*/ 1701800 w 2679700"/>
                <a:gd name="connsiteY46" fmla="*/ 1981825 h 2286625"/>
                <a:gd name="connsiteX47" fmla="*/ 1568450 w 2679700"/>
                <a:gd name="connsiteY47" fmla="*/ 2032625 h 2286625"/>
                <a:gd name="connsiteX48" fmla="*/ 1562100 w 2679700"/>
                <a:gd name="connsiteY48" fmla="*/ 1969125 h 2286625"/>
                <a:gd name="connsiteX49" fmla="*/ 1492250 w 2679700"/>
                <a:gd name="connsiteY49" fmla="*/ 1905625 h 2286625"/>
                <a:gd name="connsiteX50" fmla="*/ 1466850 w 2679700"/>
                <a:gd name="connsiteY50" fmla="*/ 1810375 h 2286625"/>
                <a:gd name="connsiteX51" fmla="*/ 1403350 w 2679700"/>
                <a:gd name="connsiteY51" fmla="*/ 1816725 h 2286625"/>
                <a:gd name="connsiteX52" fmla="*/ 1333500 w 2679700"/>
                <a:gd name="connsiteY52" fmla="*/ 1899275 h 2286625"/>
                <a:gd name="connsiteX53" fmla="*/ 1358900 w 2679700"/>
                <a:gd name="connsiteY53" fmla="*/ 2038975 h 2286625"/>
                <a:gd name="connsiteX54" fmla="*/ 1320800 w 2679700"/>
                <a:gd name="connsiteY54" fmla="*/ 2172325 h 2286625"/>
                <a:gd name="connsiteX55" fmla="*/ 1219200 w 2679700"/>
                <a:gd name="connsiteY55" fmla="*/ 2159625 h 2286625"/>
                <a:gd name="connsiteX56" fmla="*/ 1193800 w 2679700"/>
                <a:gd name="connsiteY56" fmla="*/ 2058025 h 2286625"/>
                <a:gd name="connsiteX57" fmla="*/ 1168400 w 2679700"/>
                <a:gd name="connsiteY57" fmla="*/ 2058025 h 2286625"/>
                <a:gd name="connsiteX58" fmla="*/ 1060450 w 2679700"/>
                <a:gd name="connsiteY58" fmla="*/ 2064375 h 2286625"/>
                <a:gd name="connsiteX59" fmla="*/ 1066800 w 2679700"/>
                <a:gd name="connsiteY59" fmla="*/ 2000875 h 2286625"/>
                <a:gd name="connsiteX60" fmla="*/ 965200 w 2679700"/>
                <a:gd name="connsiteY60" fmla="*/ 1988175 h 2286625"/>
                <a:gd name="connsiteX61" fmla="*/ 812800 w 2679700"/>
                <a:gd name="connsiteY61" fmla="*/ 2045325 h 2286625"/>
                <a:gd name="connsiteX62" fmla="*/ 825500 w 2679700"/>
                <a:gd name="connsiteY62" fmla="*/ 2096125 h 2286625"/>
                <a:gd name="connsiteX63" fmla="*/ 876300 w 2679700"/>
                <a:gd name="connsiteY63" fmla="*/ 2140575 h 2286625"/>
                <a:gd name="connsiteX64" fmla="*/ 933450 w 2679700"/>
                <a:gd name="connsiteY64" fmla="*/ 2172325 h 2286625"/>
                <a:gd name="connsiteX65" fmla="*/ 927100 w 2679700"/>
                <a:gd name="connsiteY65" fmla="*/ 2223125 h 2286625"/>
                <a:gd name="connsiteX66" fmla="*/ 825500 w 2679700"/>
                <a:gd name="connsiteY66" fmla="*/ 2216775 h 2286625"/>
                <a:gd name="connsiteX67" fmla="*/ 800100 w 2679700"/>
                <a:gd name="connsiteY67" fmla="*/ 2286625 h 2286625"/>
                <a:gd name="connsiteX68" fmla="*/ 717550 w 2679700"/>
                <a:gd name="connsiteY68" fmla="*/ 2242175 h 2286625"/>
                <a:gd name="connsiteX69" fmla="*/ 666750 w 2679700"/>
                <a:gd name="connsiteY69" fmla="*/ 2077075 h 2286625"/>
                <a:gd name="connsiteX70" fmla="*/ 558800 w 2679700"/>
                <a:gd name="connsiteY70" fmla="*/ 1969125 h 2286625"/>
                <a:gd name="connsiteX71" fmla="*/ 508000 w 2679700"/>
                <a:gd name="connsiteY71" fmla="*/ 1988175 h 2286625"/>
                <a:gd name="connsiteX72" fmla="*/ 450850 w 2679700"/>
                <a:gd name="connsiteY72" fmla="*/ 1867525 h 2286625"/>
                <a:gd name="connsiteX73" fmla="*/ 336550 w 2679700"/>
                <a:gd name="connsiteY73" fmla="*/ 1791325 h 2286625"/>
                <a:gd name="connsiteX74" fmla="*/ 247650 w 2679700"/>
                <a:gd name="connsiteY74" fmla="*/ 1753225 h 2286625"/>
                <a:gd name="connsiteX75" fmla="*/ 165100 w 2679700"/>
                <a:gd name="connsiteY75" fmla="*/ 1848475 h 2286625"/>
                <a:gd name="connsiteX76" fmla="*/ 171450 w 2679700"/>
                <a:gd name="connsiteY76" fmla="*/ 1664325 h 2286625"/>
                <a:gd name="connsiteX77" fmla="*/ 209550 w 2679700"/>
                <a:gd name="connsiteY77" fmla="*/ 1626225 h 2286625"/>
                <a:gd name="connsiteX78" fmla="*/ 171450 w 2679700"/>
                <a:gd name="connsiteY78" fmla="*/ 1575425 h 2286625"/>
                <a:gd name="connsiteX79" fmla="*/ 95250 w 2679700"/>
                <a:gd name="connsiteY79" fmla="*/ 1581775 h 2286625"/>
                <a:gd name="connsiteX80" fmla="*/ 107950 w 2679700"/>
                <a:gd name="connsiteY80" fmla="*/ 1632575 h 2286625"/>
                <a:gd name="connsiteX81" fmla="*/ 57150 w 2679700"/>
                <a:gd name="connsiteY81" fmla="*/ 1645275 h 2286625"/>
                <a:gd name="connsiteX82" fmla="*/ 0 w 2679700"/>
                <a:gd name="connsiteY82" fmla="*/ 1588125 h 2286625"/>
                <a:gd name="connsiteX83" fmla="*/ 82550 w 2679700"/>
                <a:gd name="connsiteY83" fmla="*/ 1340475 h 2286625"/>
                <a:gd name="connsiteX84" fmla="*/ 165100 w 2679700"/>
                <a:gd name="connsiteY84" fmla="*/ 1327775 h 2286625"/>
                <a:gd name="connsiteX85" fmla="*/ 171450 w 2679700"/>
                <a:gd name="connsiteY85" fmla="*/ 1238875 h 2286625"/>
                <a:gd name="connsiteX86" fmla="*/ 127000 w 2679700"/>
                <a:gd name="connsiteY86" fmla="*/ 1226175 h 2286625"/>
                <a:gd name="connsiteX87" fmla="*/ 88900 w 2679700"/>
                <a:gd name="connsiteY87" fmla="*/ 1226175 h 2286625"/>
                <a:gd name="connsiteX88" fmla="*/ 88900 w 2679700"/>
                <a:gd name="connsiteY88" fmla="*/ 1169025 h 2286625"/>
                <a:gd name="connsiteX89" fmla="*/ 171450 w 2679700"/>
                <a:gd name="connsiteY89" fmla="*/ 1169025 h 2286625"/>
                <a:gd name="connsiteX90" fmla="*/ 139700 w 2679700"/>
                <a:gd name="connsiteY90" fmla="*/ 1073775 h 2286625"/>
                <a:gd name="connsiteX91" fmla="*/ 228600 w 2679700"/>
                <a:gd name="connsiteY91" fmla="*/ 1067425 h 2286625"/>
                <a:gd name="connsiteX92" fmla="*/ 304800 w 2679700"/>
                <a:gd name="connsiteY92" fmla="*/ 1086475 h 2286625"/>
                <a:gd name="connsiteX93" fmla="*/ 342900 w 2679700"/>
                <a:gd name="connsiteY93" fmla="*/ 1048375 h 2286625"/>
                <a:gd name="connsiteX94" fmla="*/ 260350 w 2679700"/>
                <a:gd name="connsiteY94" fmla="*/ 972175 h 2286625"/>
                <a:gd name="connsiteX95" fmla="*/ 285750 w 2679700"/>
                <a:gd name="connsiteY95" fmla="*/ 921375 h 2286625"/>
                <a:gd name="connsiteX96" fmla="*/ 234950 w 2679700"/>
                <a:gd name="connsiteY96" fmla="*/ 864225 h 2286625"/>
                <a:gd name="connsiteX97" fmla="*/ 317500 w 2679700"/>
                <a:gd name="connsiteY97" fmla="*/ 889625 h 2286625"/>
                <a:gd name="connsiteX98" fmla="*/ 342900 w 2679700"/>
                <a:gd name="connsiteY98" fmla="*/ 807075 h 2286625"/>
                <a:gd name="connsiteX99" fmla="*/ 209550 w 2679700"/>
                <a:gd name="connsiteY99" fmla="*/ 762625 h 2286625"/>
                <a:gd name="connsiteX100" fmla="*/ 184150 w 2679700"/>
                <a:gd name="connsiteY100" fmla="*/ 673725 h 2286625"/>
                <a:gd name="connsiteX101" fmla="*/ 88900 w 2679700"/>
                <a:gd name="connsiteY101" fmla="*/ 641975 h 2286625"/>
                <a:gd name="connsiteX102" fmla="*/ 63500 w 2679700"/>
                <a:gd name="connsiteY102" fmla="*/ 508625 h 2286625"/>
                <a:gd name="connsiteX103" fmla="*/ 58425 w 2679700"/>
                <a:gd name="connsiteY103" fmla="*/ 499256 h 2286625"/>
                <a:gd name="connsiteX104" fmla="*/ 359768 w 2679700"/>
                <a:gd name="connsiteY104" fmla="*/ 330504 h 2286625"/>
                <a:gd name="connsiteX105" fmla="*/ 455018 w 2679700"/>
                <a:gd name="connsiteY105" fmla="*/ 184454 h 2286625"/>
                <a:gd name="connsiteX106" fmla="*/ 543918 w 2679700"/>
                <a:gd name="connsiteY106" fmla="*/ 184454 h 2286625"/>
                <a:gd name="connsiteX107" fmla="*/ 569318 w 2679700"/>
                <a:gd name="connsiteY107" fmla="*/ 228904 h 2286625"/>
                <a:gd name="connsiteX108" fmla="*/ 702668 w 2679700"/>
                <a:gd name="connsiteY108" fmla="*/ 222554 h 2286625"/>
                <a:gd name="connsiteX109" fmla="*/ 721958 w 2679700"/>
                <a:gd name="connsiteY109" fmla="*/ 0 h 2286625"/>
                <a:gd name="connsiteX110" fmla="*/ 721958 w 2679700"/>
                <a:gd name="connsiteY110" fmla="*/ 0 h 2286625"/>
                <a:gd name="connsiteX111" fmla="*/ 772518 w 2679700"/>
                <a:gd name="connsiteY111" fmla="*/ 114604 h 2286625"/>
                <a:gd name="connsiteX0" fmla="*/ 2199640 w 2679700"/>
                <a:gd name="connsiteY0" fmla="*/ 612765 h 2286625"/>
                <a:gd name="connsiteX1" fmla="*/ 2199640 w 2679700"/>
                <a:gd name="connsiteY1" fmla="*/ 612766 h 2286625"/>
                <a:gd name="connsiteX2" fmla="*/ 2199640 w 2679700"/>
                <a:gd name="connsiteY2" fmla="*/ 612765 h 2286625"/>
                <a:gd name="connsiteX3" fmla="*/ 772518 w 2679700"/>
                <a:gd name="connsiteY3" fmla="*/ 114604 h 2286625"/>
                <a:gd name="connsiteX4" fmla="*/ 770406 w 2679700"/>
                <a:gd name="connsiteY4" fmla="*/ 117868 h 2286625"/>
                <a:gd name="connsiteX5" fmla="*/ 1018540 w 2679700"/>
                <a:gd name="connsiteY5" fmla="*/ 147945 h 2286625"/>
                <a:gd name="connsiteX6" fmla="*/ 1003300 w 2679700"/>
                <a:gd name="connsiteY6" fmla="*/ 247005 h 2286625"/>
                <a:gd name="connsiteX7" fmla="*/ 1079500 w 2679700"/>
                <a:gd name="connsiteY7" fmla="*/ 460365 h 2286625"/>
                <a:gd name="connsiteX8" fmla="*/ 1422400 w 2679700"/>
                <a:gd name="connsiteY8" fmla="*/ 490845 h 2286625"/>
                <a:gd name="connsiteX9" fmla="*/ 1529080 w 2679700"/>
                <a:gd name="connsiteY9" fmla="*/ 628005 h 2286625"/>
                <a:gd name="connsiteX10" fmla="*/ 1460500 w 2679700"/>
                <a:gd name="connsiteY10" fmla="*/ 727065 h 2286625"/>
                <a:gd name="connsiteX11" fmla="*/ 1445260 w 2679700"/>
                <a:gd name="connsiteY11" fmla="*/ 788025 h 2286625"/>
                <a:gd name="connsiteX12" fmla="*/ 1506220 w 2679700"/>
                <a:gd name="connsiteY12" fmla="*/ 788025 h 2286625"/>
                <a:gd name="connsiteX13" fmla="*/ 1559560 w 2679700"/>
                <a:gd name="connsiteY13" fmla="*/ 955665 h 2286625"/>
                <a:gd name="connsiteX14" fmla="*/ 1628140 w 2679700"/>
                <a:gd name="connsiteY14" fmla="*/ 902325 h 2286625"/>
                <a:gd name="connsiteX15" fmla="*/ 1788160 w 2679700"/>
                <a:gd name="connsiteY15" fmla="*/ 1009005 h 2286625"/>
                <a:gd name="connsiteX16" fmla="*/ 1948180 w 2679700"/>
                <a:gd name="connsiteY16" fmla="*/ 1024245 h 2286625"/>
                <a:gd name="connsiteX17" fmla="*/ 2054860 w 2679700"/>
                <a:gd name="connsiteY17" fmla="*/ 1130925 h 2286625"/>
                <a:gd name="connsiteX18" fmla="*/ 2237740 w 2679700"/>
                <a:gd name="connsiteY18" fmla="*/ 1169025 h 2286625"/>
                <a:gd name="connsiteX19" fmla="*/ 2329180 w 2679700"/>
                <a:gd name="connsiteY19" fmla="*/ 1062345 h 2286625"/>
                <a:gd name="connsiteX20" fmla="*/ 2245360 w 2679700"/>
                <a:gd name="connsiteY20" fmla="*/ 993765 h 2286625"/>
                <a:gd name="connsiteX21" fmla="*/ 2306320 w 2679700"/>
                <a:gd name="connsiteY21" fmla="*/ 963285 h 2286625"/>
                <a:gd name="connsiteX22" fmla="*/ 2303915 w 2679700"/>
                <a:gd name="connsiteY22" fmla="*/ 959477 h 2286625"/>
                <a:gd name="connsiteX23" fmla="*/ 2476500 w 2679700"/>
                <a:gd name="connsiteY23" fmla="*/ 959477 h 2286625"/>
                <a:gd name="connsiteX24" fmla="*/ 2578100 w 2679700"/>
                <a:gd name="connsiteY24" fmla="*/ 1099177 h 2286625"/>
                <a:gd name="connsiteX25" fmla="*/ 2679700 w 2679700"/>
                <a:gd name="connsiteY25" fmla="*/ 1219827 h 2286625"/>
                <a:gd name="connsiteX26" fmla="*/ 2508250 w 2679700"/>
                <a:gd name="connsiteY26" fmla="*/ 1226177 h 2286625"/>
                <a:gd name="connsiteX27" fmla="*/ 2438400 w 2679700"/>
                <a:gd name="connsiteY27" fmla="*/ 1321427 h 2286625"/>
                <a:gd name="connsiteX28" fmla="*/ 2381250 w 2679700"/>
                <a:gd name="connsiteY28" fmla="*/ 1302377 h 2286625"/>
                <a:gd name="connsiteX29" fmla="*/ 2279650 w 2679700"/>
                <a:gd name="connsiteY29" fmla="*/ 1378577 h 2286625"/>
                <a:gd name="connsiteX30" fmla="*/ 2260600 w 2679700"/>
                <a:gd name="connsiteY30" fmla="*/ 1454777 h 2286625"/>
                <a:gd name="connsiteX31" fmla="*/ 2317750 w 2679700"/>
                <a:gd name="connsiteY31" fmla="*/ 1588127 h 2286625"/>
                <a:gd name="connsiteX32" fmla="*/ 2273300 w 2679700"/>
                <a:gd name="connsiteY32" fmla="*/ 1632577 h 2286625"/>
                <a:gd name="connsiteX33" fmla="*/ 2203450 w 2679700"/>
                <a:gd name="connsiteY33" fmla="*/ 1632577 h 2286625"/>
                <a:gd name="connsiteX34" fmla="*/ 2171700 w 2679700"/>
                <a:gd name="connsiteY34" fmla="*/ 1696077 h 2286625"/>
                <a:gd name="connsiteX35" fmla="*/ 2171700 w 2679700"/>
                <a:gd name="connsiteY35" fmla="*/ 1746877 h 2286625"/>
                <a:gd name="connsiteX36" fmla="*/ 2057400 w 2679700"/>
                <a:gd name="connsiteY36" fmla="*/ 1753227 h 2286625"/>
                <a:gd name="connsiteX37" fmla="*/ 2025650 w 2679700"/>
                <a:gd name="connsiteY37" fmla="*/ 1645277 h 2286625"/>
                <a:gd name="connsiteX38" fmla="*/ 1936750 w 2679700"/>
                <a:gd name="connsiteY38" fmla="*/ 1772277 h 2286625"/>
                <a:gd name="connsiteX39" fmla="*/ 1974850 w 2679700"/>
                <a:gd name="connsiteY39" fmla="*/ 1816727 h 2286625"/>
                <a:gd name="connsiteX40" fmla="*/ 2032000 w 2679700"/>
                <a:gd name="connsiteY40" fmla="*/ 1854827 h 2286625"/>
                <a:gd name="connsiteX41" fmla="*/ 1974850 w 2679700"/>
                <a:gd name="connsiteY41" fmla="*/ 1924677 h 2286625"/>
                <a:gd name="connsiteX42" fmla="*/ 1984153 w 2679700"/>
                <a:gd name="connsiteY42" fmla="*/ 1945821 h 2286625"/>
                <a:gd name="connsiteX43" fmla="*/ 1962150 w 2679700"/>
                <a:gd name="connsiteY43" fmla="*/ 1943725 h 2286625"/>
                <a:gd name="connsiteX44" fmla="*/ 1873250 w 2679700"/>
                <a:gd name="connsiteY44" fmla="*/ 1994525 h 2286625"/>
                <a:gd name="connsiteX45" fmla="*/ 1828800 w 2679700"/>
                <a:gd name="connsiteY45" fmla="*/ 1956425 h 2286625"/>
                <a:gd name="connsiteX46" fmla="*/ 1701800 w 2679700"/>
                <a:gd name="connsiteY46" fmla="*/ 1981825 h 2286625"/>
                <a:gd name="connsiteX47" fmla="*/ 1568450 w 2679700"/>
                <a:gd name="connsiteY47" fmla="*/ 2032625 h 2286625"/>
                <a:gd name="connsiteX48" fmla="*/ 1562100 w 2679700"/>
                <a:gd name="connsiteY48" fmla="*/ 1969125 h 2286625"/>
                <a:gd name="connsiteX49" fmla="*/ 1492250 w 2679700"/>
                <a:gd name="connsiteY49" fmla="*/ 1905625 h 2286625"/>
                <a:gd name="connsiteX50" fmla="*/ 1466850 w 2679700"/>
                <a:gd name="connsiteY50" fmla="*/ 1810375 h 2286625"/>
                <a:gd name="connsiteX51" fmla="*/ 1403350 w 2679700"/>
                <a:gd name="connsiteY51" fmla="*/ 1816725 h 2286625"/>
                <a:gd name="connsiteX52" fmla="*/ 1333500 w 2679700"/>
                <a:gd name="connsiteY52" fmla="*/ 1899275 h 2286625"/>
                <a:gd name="connsiteX53" fmla="*/ 1358900 w 2679700"/>
                <a:gd name="connsiteY53" fmla="*/ 2038975 h 2286625"/>
                <a:gd name="connsiteX54" fmla="*/ 1320800 w 2679700"/>
                <a:gd name="connsiteY54" fmla="*/ 2172325 h 2286625"/>
                <a:gd name="connsiteX55" fmla="*/ 1219200 w 2679700"/>
                <a:gd name="connsiteY55" fmla="*/ 2159625 h 2286625"/>
                <a:gd name="connsiteX56" fmla="*/ 1193800 w 2679700"/>
                <a:gd name="connsiteY56" fmla="*/ 2058025 h 2286625"/>
                <a:gd name="connsiteX57" fmla="*/ 1168400 w 2679700"/>
                <a:gd name="connsiteY57" fmla="*/ 2058025 h 2286625"/>
                <a:gd name="connsiteX58" fmla="*/ 1060450 w 2679700"/>
                <a:gd name="connsiteY58" fmla="*/ 2064375 h 2286625"/>
                <a:gd name="connsiteX59" fmla="*/ 1066800 w 2679700"/>
                <a:gd name="connsiteY59" fmla="*/ 2000875 h 2286625"/>
                <a:gd name="connsiteX60" fmla="*/ 965200 w 2679700"/>
                <a:gd name="connsiteY60" fmla="*/ 1988175 h 2286625"/>
                <a:gd name="connsiteX61" fmla="*/ 812800 w 2679700"/>
                <a:gd name="connsiteY61" fmla="*/ 2045325 h 2286625"/>
                <a:gd name="connsiteX62" fmla="*/ 825500 w 2679700"/>
                <a:gd name="connsiteY62" fmla="*/ 2096125 h 2286625"/>
                <a:gd name="connsiteX63" fmla="*/ 876300 w 2679700"/>
                <a:gd name="connsiteY63" fmla="*/ 2140575 h 2286625"/>
                <a:gd name="connsiteX64" fmla="*/ 933450 w 2679700"/>
                <a:gd name="connsiteY64" fmla="*/ 2172325 h 2286625"/>
                <a:gd name="connsiteX65" fmla="*/ 927100 w 2679700"/>
                <a:gd name="connsiteY65" fmla="*/ 2223125 h 2286625"/>
                <a:gd name="connsiteX66" fmla="*/ 825500 w 2679700"/>
                <a:gd name="connsiteY66" fmla="*/ 2216775 h 2286625"/>
                <a:gd name="connsiteX67" fmla="*/ 800100 w 2679700"/>
                <a:gd name="connsiteY67" fmla="*/ 2286625 h 2286625"/>
                <a:gd name="connsiteX68" fmla="*/ 717550 w 2679700"/>
                <a:gd name="connsiteY68" fmla="*/ 2242175 h 2286625"/>
                <a:gd name="connsiteX69" fmla="*/ 666750 w 2679700"/>
                <a:gd name="connsiteY69" fmla="*/ 2077075 h 2286625"/>
                <a:gd name="connsiteX70" fmla="*/ 558800 w 2679700"/>
                <a:gd name="connsiteY70" fmla="*/ 1969125 h 2286625"/>
                <a:gd name="connsiteX71" fmla="*/ 508000 w 2679700"/>
                <a:gd name="connsiteY71" fmla="*/ 1988175 h 2286625"/>
                <a:gd name="connsiteX72" fmla="*/ 450850 w 2679700"/>
                <a:gd name="connsiteY72" fmla="*/ 1867525 h 2286625"/>
                <a:gd name="connsiteX73" fmla="*/ 336550 w 2679700"/>
                <a:gd name="connsiteY73" fmla="*/ 1791325 h 2286625"/>
                <a:gd name="connsiteX74" fmla="*/ 247650 w 2679700"/>
                <a:gd name="connsiteY74" fmla="*/ 1753225 h 2286625"/>
                <a:gd name="connsiteX75" fmla="*/ 165100 w 2679700"/>
                <a:gd name="connsiteY75" fmla="*/ 1848475 h 2286625"/>
                <a:gd name="connsiteX76" fmla="*/ 171450 w 2679700"/>
                <a:gd name="connsiteY76" fmla="*/ 1664325 h 2286625"/>
                <a:gd name="connsiteX77" fmla="*/ 209550 w 2679700"/>
                <a:gd name="connsiteY77" fmla="*/ 1626225 h 2286625"/>
                <a:gd name="connsiteX78" fmla="*/ 171450 w 2679700"/>
                <a:gd name="connsiteY78" fmla="*/ 1575425 h 2286625"/>
                <a:gd name="connsiteX79" fmla="*/ 95250 w 2679700"/>
                <a:gd name="connsiteY79" fmla="*/ 1581775 h 2286625"/>
                <a:gd name="connsiteX80" fmla="*/ 107950 w 2679700"/>
                <a:gd name="connsiteY80" fmla="*/ 1632575 h 2286625"/>
                <a:gd name="connsiteX81" fmla="*/ 57150 w 2679700"/>
                <a:gd name="connsiteY81" fmla="*/ 1645275 h 2286625"/>
                <a:gd name="connsiteX82" fmla="*/ 0 w 2679700"/>
                <a:gd name="connsiteY82" fmla="*/ 1588125 h 2286625"/>
                <a:gd name="connsiteX83" fmla="*/ 82550 w 2679700"/>
                <a:gd name="connsiteY83" fmla="*/ 1340475 h 2286625"/>
                <a:gd name="connsiteX84" fmla="*/ 165100 w 2679700"/>
                <a:gd name="connsiteY84" fmla="*/ 1327775 h 2286625"/>
                <a:gd name="connsiteX85" fmla="*/ 171450 w 2679700"/>
                <a:gd name="connsiteY85" fmla="*/ 1238875 h 2286625"/>
                <a:gd name="connsiteX86" fmla="*/ 127000 w 2679700"/>
                <a:gd name="connsiteY86" fmla="*/ 1226175 h 2286625"/>
                <a:gd name="connsiteX87" fmla="*/ 88900 w 2679700"/>
                <a:gd name="connsiteY87" fmla="*/ 1226175 h 2286625"/>
                <a:gd name="connsiteX88" fmla="*/ 88900 w 2679700"/>
                <a:gd name="connsiteY88" fmla="*/ 1169025 h 2286625"/>
                <a:gd name="connsiteX89" fmla="*/ 171450 w 2679700"/>
                <a:gd name="connsiteY89" fmla="*/ 1169025 h 2286625"/>
                <a:gd name="connsiteX90" fmla="*/ 139700 w 2679700"/>
                <a:gd name="connsiteY90" fmla="*/ 1073775 h 2286625"/>
                <a:gd name="connsiteX91" fmla="*/ 228600 w 2679700"/>
                <a:gd name="connsiteY91" fmla="*/ 1067425 h 2286625"/>
                <a:gd name="connsiteX92" fmla="*/ 304800 w 2679700"/>
                <a:gd name="connsiteY92" fmla="*/ 1086475 h 2286625"/>
                <a:gd name="connsiteX93" fmla="*/ 342900 w 2679700"/>
                <a:gd name="connsiteY93" fmla="*/ 1048375 h 2286625"/>
                <a:gd name="connsiteX94" fmla="*/ 260350 w 2679700"/>
                <a:gd name="connsiteY94" fmla="*/ 972175 h 2286625"/>
                <a:gd name="connsiteX95" fmla="*/ 285750 w 2679700"/>
                <a:gd name="connsiteY95" fmla="*/ 921375 h 2286625"/>
                <a:gd name="connsiteX96" fmla="*/ 234950 w 2679700"/>
                <a:gd name="connsiteY96" fmla="*/ 864225 h 2286625"/>
                <a:gd name="connsiteX97" fmla="*/ 317500 w 2679700"/>
                <a:gd name="connsiteY97" fmla="*/ 889625 h 2286625"/>
                <a:gd name="connsiteX98" fmla="*/ 342900 w 2679700"/>
                <a:gd name="connsiteY98" fmla="*/ 807075 h 2286625"/>
                <a:gd name="connsiteX99" fmla="*/ 209550 w 2679700"/>
                <a:gd name="connsiteY99" fmla="*/ 762625 h 2286625"/>
                <a:gd name="connsiteX100" fmla="*/ 184150 w 2679700"/>
                <a:gd name="connsiteY100" fmla="*/ 673725 h 2286625"/>
                <a:gd name="connsiteX101" fmla="*/ 88900 w 2679700"/>
                <a:gd name="connsiteY101" fmla="*/ 641975 h 2286625"/>
                <a:gd name="connsiteX102" fmla="*/ 63500 w 2679700"/>
                <a:gd name="connsiteY102" fmla="*/ 508625 h 2286625"/>
                <a:gd name="connsiteX103" fmla="*/ 58425 w 2679700"/>
                <a:gd name="connsiteY103" fmla="*/ 499256 h 2286625"/>
                <a:gd name="connsiteX104" fmla="*/ 359768 w 2679700"/>
                <a:gd name="connsiteY104" fmla="*/ 330504 h 2286625"/>
                <a:gd name="connsiteX105" fmla="*/ 455018 w 2679700"/>
                <a:gd name="connsiteY105" fmla="*/ 184454 h 2286625"/>
                <a:gd name="connsiteX106" fmla="*/ 543918 w 2679700"/>
                <a:gd name="connsiteY106" fmla="*/ 184454 h 2286625"/>
                <a:gd name="connsiteX107" fmla="*/ 569318 w 2679700"/>
                <a:gd name="connsiteY107" fmla="*/ 228904 h 2286625"/>
                <a:gd name="connsiteX108" fmla="*/ 702668 w 2679700"/>
                <a:gd name="connsiteY108" fmla="*/ 222554 h 2286625"/>
                <a:gd name="connsiteX109" fmla="*/ 772518 w 2679700"/>
                <a:gd name="connsiteY109" fmla="*/ 114604 h 2286625"/>
                <a:gd name="connsiteX110" fmla="*/ 721958 w 2679700"/>
                <a:gd name="connsiteY110" fmla="*/ 0 h 2286625"/>
                <a:gd name="connsiteX111" fmla="*/ 721958 w 2679700"/>
                <a:gd name="connsiteY111" fmla="*/ 0 h 2286625"/>
                <a:gd name="connsiteX112" fmla="*/ 772518 w 2679700"/>
                <a:gd name="connsiteY112" fmla="*/ 114604 h 2286625"/>
                <a:gd name="connsiteX113" fmla="*/ 721958 w 2679700"/>
                <a:gd name="connsiteY113" fmla="*/ 0 h 2286625"/>
                <a:gd name="connsiteX0" fmla="*/ 772518 w 2679700"/>
                <a:gd name="connsiteY0" fmla="*/ 114604 h 2286625"/>
                <a:gd name="connsiteX1" fmla="*/ 770406 w 2679700"/>
                <a:gd name="connsiteY1" fmla="*/ 117868 h 2286625"/>
                <a:gd name="connsiteX2" fmla="*/ 1018540 w 2679700"/>
                <a:gd name="connsiteY2" fmla="*/ 147945 h 2286625"/>
                <a:gd name="connsiteX3" fmla="*/ 1003300 w 2679700"/>
                <a:gd name="connsiteY3" fmla="*/ 247005 h 2286625"/>
                <a:gd name="connsiteX4" fmla="*/ 1079500 w 2679700"/>
                <a:gd name="connsiteY4" fmla="*/ 460365 h 2286625"/>
                <a:gd name="connsiteX5" fmla="*/ 1422400 w 2679700"/>
                <a:gd name="connsiteY5" fmla="*/ 490845 h 2286625"/>
                <a:gd name="connsiteX6" fmla="*/ 1529080 w 2679700"/>
                <a:gd name="connsiteY6" fmla="*/ 628005 h 2286625"/>
                <a:gd name="connsiteX7" fmla="*/ 1460500 w 2679700"/>
                <a:gd name="connsiteY7" fmla="*/ 727065 h 2286625"/>
                <a:gd name="connsiteX8" fmla="*/ 1445260 w 2679700"/>
                <a:gd name="connsiteY8" fmla="*/ 788025 h 2286625"/>
                <a:gd name="connsiteX9" fmla="*/ 1506220 w 2679700"/>
                <a:gd name="connsiteY9" fmla="*/ 788025 h 2286625"/>
                <a:gd name="connsiteX10" fmla="*/ 1559560 w 2679700"/>
                <a:gd name="connsiteY10" fmla="*/ 955665 h 2286625"/>
                <a:gd name="connsiteX11" fmla="*/ 1628140 w 2679700"/>
                <a:gd name="connsiteY11" fmla="*/ 902325 h 2286625"/>
                <a:gd name="connsiteX12" fmla="*/ 1788160 w 2679700"/>
                <a:gd name="connsiteY12" fmla="*/ 1009005 h 2286625"/>
                <a:gd name="connsiteX13" fmla="*/ 1948180 w 2679700"/>
                <a:gd name="connsiteY13" fmla="*/ 1024245 h 2286625"/>
                <a:gd name="connsiteX14" fmla="*/ 2054860 w 2679700"/>
                <a:gd name="connsiteY14" fmla="*/ 1130925 h 2286625"/>
                <a:gd name="connsiteX15" fmla="*/ 2237740 w 2679700"/>
                <a:gd name="connsiteY15" fmla="*/ 1169025 h 2286625"/>
                <a:gd name="connsiteX16" fmla="*/ 2329180 w 2679700"/>
                <a:gd name="connsiteY16" fmla="*/ 1062345 h 2286625"/>
                <a:gd name="connsiteX17" fmla="*/ 2245360 w 2679700"/>
                <a:gd name="connsiteY17" fmla="*/ 993765 h 2286625"/>
                <a:gd name="connsiteX18" fmla="*/ 2306320 w 2679700"/>
                <a:gd name="connsiteY18" fmla="*/ 963285 h 2286625"/>
                <a:gd name="connsiteX19" fmla="*/ 2303915 w 2679700"/>
                <a:gd name="connsiteY19" fmla="*/ 959477 h 2286625"/>
                <a:gd name="connsiteX20" fmla="*/ 2476500 w 2679700"/>
                <a:gd name="connsiteY20" fmla="*/ 959477 h 2286625"/>
                <a:gd name="connsiteX21" fmla="*/ 2578100 w 2679700"/>
                <a:gd name="connsiteY21" fmla="*/ 1099177 h 2286625"/>
                <a:gd name="connsiteX22" fmla="*/ 2679700 w 2679700"/>
                <a:gd name="connsiteY22" fmla="*/ 1219827 h 2286625"/>
                <a:gd name="connsiteX23" fmla="*/ 2508250 w 2679700"/>
                <a:gd name="connsiteY23" fmla="*/ 1226177 h 2286625"/>
                <a:gd name="connsiteX24" fmla="*/ 2438400 w 2679700"/>
                <a:gd name="connsiteY24" fmla="*/ 1321427 h 2286625"/>
                <a:gd name="connsiteX25" fmla="*/ 2381250 w 2679700"/>
                <a:gd name="connsiteY25" fmla="*/ 1302377 h 2286625"/>
                <a:gd name="connsiteX26" fmla="*/ 2279650 w 2679700"/>
                <a:gd name="connsiteY26" fmla="*/ 1378577 h 2286625"/>
                <a:gd name="connsiteX27" fmla="*/ 2260600 w 2679700"/>
                <a:gd name="connsiteY27" fmla="*/ 1454777 h 2286625"/>
                <a:gd name="connsiteX28" fmla="*/ 2317750 w 2679700"/>
                <a:gd name="connsiteY28" fmla="*/ 1588127 h 2286625"/>
                <a:gd name="connsiteX29" fmla="*/ 2273300 w 2679700"/>
                <a:gd name="connsiteY29" fmla="*/ 1632577 h 2286625"/>
                <a:gd name="connsiteX30" fmla="*/ 2203450 w 2679700"/>
                <a:gd name="connsiteY30" fmla="*/ 1632577 h 2286625"/>
                <a:gd name="connsiteX31" fmla="*/ 2171700 w 2679700"/>
                <a:gd name="connsiteY31" fmla="*/ 1696077 h 2286625"/>
                <a:gd name="connsiteX32" fmla="*/ 2171700 w 2679700"/>
                <a:gd name="connsiteY32" fmla="*/ 1746877 h 2286625"/>
                <a:gd name="connsiteX33" fmla="*/ 2057400 w 2679700"/>
                <a:gd name="connsiteY33" fmla="*/ 1753227 h 2286625"/>
                <a:gd name="connsiteX34" fmla="*/ 2025650 w 2679700"/>
                <a:gd name="connsiteY34" fmla="*/ 1645277 h 2286625"/>
                <a:gd name="connsiteX35" fmla="*/ 1936750 w 2679700"/>
                <a:gd name="connsiteY35" fmla="*/ 1772277 h 2286625"/>
                <a:gd name="connsiteX36" fmla="*/ 1974850 w 2679700"/>
                <a:gd name="connsiteY36" fmla="*/ 1816727 h 2286625"/>
                <a:gd name="connsiteX37" fmla="*/ 2032000 w 2679700"/>
                <a:gd name="connsiteY37" fmla="*/ 1854827 h 2286625"/>
                <a:gd name="connsiteX38" fmla="*/ 1974850 w 2679700"/>
                <a:gd name="connsiteY38" fmla="*/ 1924677 h 2286625"/>
                <a:gd name="connsiteX39" fmla="*/ 1984153 w 2679700"/>
                <a:gd name="connsiteY39" fmla="*/ 1945821 h 2286625"/>
                <a:gd name="connsiteX40" fmla="*/ 1962150 w 2679700"/>
                <a:gd name="connsiteY40" fmla="*/ 1943725 h 2286625"/>
                <a:gd name="connsiteX41" fmla="*/ 1873250 w 2679700"/>
                <a:gd name="connsiteY41" fmla="*/ 1994525 h 2286625"/>
                <a:gd name="connsiteX42" fmla="*/ 1828800 w 2679700"/>
                <a:gd name="connsiteY42" fmla="*/ 1956425 h 2286625"/>
                <a:gd name="connsiteX43" fmla="*/ 1701800 w 2679700"/>
                <a:gd name="connsiteY43" fmla="*/ 1981825 h 2286625"/>
                <a:gd name="connsiteX44" fmla="*/ 1568450 w 2679700"/>
                <a:gd name="connsiteY44" fmla="*/ 2032625 h 2286625"/>
                <a:gd name="connsiteX45" fmla="*/ 1562100 w 2679700"/>
                <a:gd name="connsiteY45" fmla="*/ 1969125 h 2286625"/>
                <a:gd name="connsiteX46" fmla="*/ 1492250 w 2679700"/>
                <a:gd name="connsiteY46" fmla="*/ 1905625 h 2286625"/>
                <a:gd name="connsiteX47" fmla="*/ 1466850 w 2679700"/>
                <a:gd name="connsiteY47" fmla="*/ 1810375 h 2286625"/>
                <a:gd name="connsiteX48" fmla="*/ 1403350 w 2679700"/>
                <a:gd name="connsiteY48" fmla="*/ 1816725 h 2286625"/>
                <a:gd name="connsiteX49" fmla="*/ 1333500 w 2679700"/>
                <a:gd name="connsiteY49" fmla="*/ 1899275 h 2286625"/>
                <a:gd name="connsiteX50" fmla="*/ 1358900 w 2679700"/>
                <a:gd name="connsiteY50" fmla="*/ 2038975 h 2286625"/>
                <a:gd name="connsiteX51" fmla="*/ 1320800 w 2679700"/>
                <a:gd name="connsiteY51" fmla="*/ 2172325 h 2286625"/>
                <a:gd name="connsiteX52" fmla="*/ 1219200 w 2679700"/>
                <a:gd name="connsiteY52" fmla="*/ 2159625 h 2286625"/>
                <a:gd name="connsiteX53" fmla="*/ 1193800 w 2679700"/>
                <a:gd name="connsiteY53" fmla="*/ 2058025 h 2286625"/>
                <a:gd name="connsiteX54" fmla="*/ 1168400 w 2679700"/>
                <a:gd name="connsiteY54" fmla="*/ 2058025 h 2286625"/>
                <a:gd name="connsiteX55" fmla="*/ 1060450 w 2679700"/>
                <a:gd name="connsiteY55" fmla="*/ 2064375 h 2286625"/>
                <a:gd name="connsiteX56" fmla="*/ 1066800 w 2679700"/>
                <a:gd name="connsiteY56" fmla="*/ 2000875 h 2286625"/>
                <a:gd name="connsiteX57" fmla="*/ 965200 w 2679700"/>
                <a:gd name="connsiteY57" fmla="*/ 1988175 h 2286625"/>
                <a:gd name="connsiteX58" fmla="*/ 812800 w 2679700"/>
                <a:gd name="connsiteY58" fmla="*/ 2045325 h 2286625"/>
                <a:gd name="connsiteX59" fmla="*/ 825500 w 2679700"/>
                <a:gd name="connsiteY59" fmla="*/ 2096125 h 2286625"/>
                <a:gd name="connsiteX60" fmla="*/ 876300 w 2679700"/>
                <a:gd name="connsiteY60" fmla="*/ 2140575 h 2286625"/>
                <a:gd name="connsiteX61" fmla="*/ 933450 w 2679700"/>
                <a:gd name="connsiteY61" fmla="*/ 2172325 h 2286625"/>
                <a:gd name="connsiteX62" fmla="*/ 927100 w 2679700"/>
                <a:gd name="connsiteY62" fmla="*/ 2223125 h 2286625"/>
                <a:gd name="connsiteX63" fmla="*/ 825500 w 2679700"/>
                <a:gd name="connsiteY63" fmla="*/ 2216775 h 2286625"/>
                <a:gd name="connsiteX64" fmla="*/ 800100 w 2679700"/>
                <a:gd name="connsiteY64" fmla="*/ 2286625 h 2286625"/>
                <a:gd name="connsiteX65" fmla="*/ 717550 w 2679700"/>
                <a:gd name="connsiteY65" fmla="*/ 2242175 h 2286625"/>
                <a:gd name="connsiteX66" fmla="*/ 666750 w 2679700"/>
                <a:gd name="connsiteY66" fmla="*/ 2077075 h 2286625"/>
                <a:gd name="connsiteX67" fmla="*/ 558800 w 2679700"/>
                <a:gd name="connsiteY67" fmla="*/ 1969125 h 2286625"/>
                <a:gd name="connsiteX68" fmla="*/ 508000 w 2679700"/>
                <a:gd name="connsiteY68" fmla="*/ 1988175 h 2286625"/>
                <a:gd name="connsiteX69" fmla="*/ 450850 w 2679700"/>
                <a:gd name="connsiteY69" fmla="*/ 1867525 h 2286625"/>
                <a:gd name="connsiteX70" fmla="*/ 336550 w 2679700"/>
                <a:gd name="connsiteY70" fmla="*/ 1791325 h 2286625"/>
                <a:gd name="connsiteX71" fmla="*/ 247650 w 2679700"/>
                <a:gd name="connsiteY71" fmla="*/ 1753225 h 2286625"/>
                <a:gd name="connsiteX72" fmla="*/ 165100 w 2679700"/>
                <a:gd name="connsiteY72" fmla="*/ 1848475 h 2286625"/>
                <a:gd name="connsiteX73" fmla="*/ 171450 w 2679700"/>
                <a:gd name="connsiteY73" fmla="*/ 1664325 h 2286625"/>
                <a:gd name="connsiteX74" fmla="*/ 209550 w 2679700"/>
                <a:gd name="connsiteY74" fmla="*/ 1626225 h 2286625"/>
                <a:gd name="connsiteX75" fmla="*/ 171450 w 2679700"/>
                <a:gd name="connsiteY75" fmla="*/ 1575425 h 2286625"/>
                <a:gd name="connsiteX76" fmla="*/ 95250 w 2679700"/>
                <a:gd name="connsiteY76" fmla="*/ 1581775 h 2286625"/>
                <a:gd name="connsiteX77" fmla="*/ 107950 w 2679700"/>
                <a:gd name="connsiteY77" fmla="*/ 1632575 h 2286625"/>
                <a:gd name="connsiteX78" fmla="*/ 57150 w 2679700"/>
                <a:gd name="connsiteY78" fmla="*/ 1645275 h 2286625"/>
                <a:gd name="connsiteX79" fmla="*/ 0 w 2679700"/>
                <a:gd name="connsiteY79" fmla="*/ 1588125 h 2286625"/>
                <a:gd name="connsiteX80" fmla="*/ 82550 w 2679700"/>
                <a:gd name="connsiteY80" fmla="*/ 1340475 h 2286625"/>
                <a:gd name="connsiteX81" fmla="*/ 165100 w 2679700"/>
                <a:gd name="connsiteY81" fmla="*/ 1327775 h 2286625"/>
                <a:gd name="connsiteX82" fmla="*/ 171450 w 2679700"/>
                <a:gd name="connsiteY82" fmla="*/ 1238875 h 2286625"/>
                <a:gd name="connsiteX83" fmla="*/ 127000 w 2679700"/>
                <a:gd name="connsiteY83" fmla="*/ 1226175 h 2286625"/>
                <a:gd name="connsiteX84" fmla="*/ 88900 w 2679700"/>
                <a:gd name="connsiteY84" fmla="*/ 1226175 h 2286625"/>
                <a:gd name="connsiteX85" fmla="*/ 88900 w 2679700"/>
                <a:gd name="connsiteY85" fmla="*/ 1169025 h 2286625"/>
                <a:gd name="connsiteX86" fmla="*/ 171450 w 2679700"/>
                <a:gd name="connsiteY86" fmla="*/ 1169025 h 2286625"/>
                <a:gd name="connsiteX87" fmla="*/ 139700 w 2679700"/>
                <a:gd name="connsiteY87" fmla="*/ 1073775 h 2286625"/>
                <a:gd name="connsiteX88" fmla="*/ 228600 w 2679700"/>
                <a:gd name="connsiteY88" fmla="*/ 1067425 h 2286625"/>
                <a:gd name="connsiteX89" fmla="*/ 304800 w 2679700"/>
                <a:gd name="connsiteY89" fmla="*/ 1086475 h 2286625"/>
                <a:gd name="connsiteX90" fmla="*/ 342900 w 2679700"/>
                <a:gd name="connsiteY90" fmla="*/ 1048375 h 2286625"/>
                <a:gd name="connsiteX91" fmla="*/ 260350 w 2679700"/>
                <a:gd name="connsiteY91" fmla="*/ 972175 h 2286625"/>
                <a:gd name="connsiteX92" fmla="*/ 285750 w 2679700"/>
                <a:gd name="connsiteY92" fmla="*/ 921375 h 2286625"/>
                <a:gd name="connsiteX93" fmla="*/ 234950 w 2679700"/>
                <a:gd name="connsiteY93" fmla="*/ 864225 h 2286625"/>
                <a:gd name="connsiteX94" fmla="*/ 317500 w 2679700"/>
                <a:gd name="connsiteY94" fmla="*/ 889625 h 2286625"/>
                <a:gd name="connsiteX95" fmla="*/ 342900 w 2679700"/>
                <a:gd name="connsiteY95" fmla="*/ 807075 h 2286625"/>
                <a:gd name="connsiteX96" fmla="*/ 209550 w 2679700"/>
                <a:gd name="connsiteY96" fmla="*/ 762625 h 2286625"/>
                <a:gd name="connsiteX97" fmla="*/ 184150 w 2679700"/>
                <a:gd name="connsiteY97" fmla="*/ 673725 h 2286625"/>
                <a:gd name="connsiteX98" fmla="*/ 88900 w 2679700"/>
                <a:gd name="connsiteY98" fmla="*/ 641975 h 2286625"/>
                <a:gd name="connsiteX99" fmla="*/ 63500 w 2679700"/>
                <a:gd name="connsiteY99" fmla="*/ 508625 h 2286625"/>
                <a:gd name="connsiteX100" fmla="*/ 58425 w 2679700"/>
                <a:gd name="connsiteY100" fmla="*/ 499256 h 2286625"/>
                <a:gd name="connsiteX101" fmla="*/ 359768 w 2679700"/>
                <a:gd name="connsiteY101" fmla="*/ 330504 h 2286625"/>
                <a:gd name="connsiteX102" fmla="*/ 455018 w 2679700"/>
                <a:gd name="connsiteY102" fmla="*/ 184454 h 2286625"/>
                <a:gd name="connsiteX103" fmla="*/ 543918 w 2679700"/>
                <a:gd name="connsiteY103" fmla="*/ 184454 h 2286625"/>
                <a:gd name="connsiteX104" fmla="*/ 569318 w 2679700"/>
                <a:gd name="connsiteY104" fmla="*/ 228904 h 2286625"/>
                <a:gd name="connsiteX105" fmla="*/ 702668 w 2679700"/>
                <a:gd name="connsiteY105" fmla="*/ 222554 h 2286625"/>
                <a:gd name="connsiteX106" fmla="*/ 772518 w 2679700"/>
                <a:gd name="connsiteY106" fmla="*/ 114604 h 2286625"/>
                <a:gd name="connsiteX107" fmla="*/ 721958 w 2679700"/>
                <a:gd name="connsiteY107" fmla="*/ 0 h 2286625"/>
                <a:gd name="connsiteX108" fmla="*/ 721958 w 2679700"/>
                <a:gd name="connsiteY108" fmla="*/ 0 h 2286625"/>
                <a:gd name="connsiteX109" fmla="*/ 772518 w 2679700"/>
                <a:gd name="connsiteY109" fmla="*/ 114604 h 2286625"/>
                <a:gd name="connsiteX110" fmla="*/ 721958 w 2679700"/>
                <a:gd name="connsiteY110" fmla="*/ 0 h 2286625"/>
                <a:gd name="connsiteX0" fmla="*/ 772518 w 2679700"/>
                <a:gd name="connsiteY0" fmla="*/ 114604 h 2286625"/>
                <a:gd name="connsiteX1" fmla="*/ 770406 w 2679700"/>
                <a:gd name="connsiteY1" fmla="*/ 117868 h 2286625"/>
                <a:gd name="connsiteX2" fmla="*/ 1018540 w 2679700"/>
                <a:gd name="connsiteY2" fmla="*/ 147945 h 2286625"/>
                <a:gd name="connsiteX3" fmla="*/ 1003300 w 2679700"/>
                <a:gd name="connsiteY3" fmla="*/ 247005 h 2286625"/>
                <a:gd name="connsiteX4" fmla="*/ 1079500 w 2679700"/>
                <a:gd name="connsiteY4" fmla="*/ 460365 h 2286625"/>
                <a:gd name="connsiteX5" fmla="*/ 1422400 w 2679700"/>
                <a:gd name="connsiteY5" fmla="*/ 490845 h 2286625"/>
                <a:gd name="connsiteX6" fmla="*/ 1529080 w 2679700"/>
                <a:gd name="connsiteY6" fmla="*/ 628005 h 2286625"/>
                <a:gd name="connsiteX7" fmla="*/ 1460500 w 2679700"/>
                <a:gd name="connsiteY7" fmla="*/ 727065 h 2286625"/>
                <a:gd name="connsiteX8" fmla="*/ 1445260 w 2679700"/>
                <a:gd name="connsiteY8" fmla="*/ 788025 h 2286625"/>
                <a:gd name="connsiteX9" fmla="*/ 1506220 w 2679700"/>
                <a:gd name="connsiteY9" fmla="*/ 788025 h 2286625"/>
                <a:gd name="connsiteX10" fmla="*/ 1559560 w 2679700"/>
                <a:gd name="connsiteY10" fmla="*/ 955665 h 2286625"/>
                <a:gd name="connsiteX11" fmla="*/ 1628140 w 2679700"/>
                <a:gd name="connsiteY11" fmla="*/ 902325 h 2286625"/>
                <a:gd name="connsiteX12" fmla="*/ 1788160 w 2679700"/>
                <a:gd name="connsiteY12" fmla="*/ 1009005 h 2286625"/>
                <a:gd name="connsiteX13" fmla="*/ 1948180 w 2679700"/>
                <a:gd name="connsiteY13" fmla="*/ 1024245 h 2286625"/>
                <a:gd name="connsiteX14" fmla="*/ 2054860 w 2679700"/>
                <a:gd name="connsiteY14" fmla="*/ 1130925 h 2286625"/>
                <a:gd name="connsiteX15" fmla="*/ 2237740 w 2679700"/>
                <a:gd name="connsiteY15" fmla="*/ 1169025 h 2286625"/>
                <a:gd name="connsiteX16" fmla="*/ 2329180 w 2679700"/>
                <a:gd name="connsiteY16" fmla="*/ 1062345 h 2286625"/>
                <a:gd name="connsiteX17" fmla="*/ 2245360 w 2679700"/>
                <a:gd name="connsiteY17" fmla="*/ 993765 h 2286625"/>
                <a:gd name="connsiteX18" fmla="*/ 2306320 w 2679700"/>
                <a:gd name="connsiteY18" fmla="*/ 963285 h 2286625"/>
                <a:gd name="connsiteX19" fmla="*/ 2303915 w 2679700"/>
                <a:gd name="connsiteY19" fmla="*/ 959477 h 2286625"/>
                <a:gd name="connsiteX20" fmla="*/ 2476500 w 2679700"/>
                <a:gd name="connsiteY20" fmla="*/ 959477 h 2286625"/>
                <a:gd name="connsiteX21" fmla="*/ 2578100 w 2679700"/>
                <a:gd name="connsiteY21" fmla="*/ 1099177 h 2286625"/>
                <a:gd name="connsiteX22" fmla="*/ 2679700 w 2679700"/>
                <a:gd name="connsiteY22" fmla="*/ 1219827 h 2286625"/>
                <a:gd name="connsiteX23" fmla="*/ 2508250 w 2679700"/>
                <a:gd name="connsiteY23" fmla="*/ 1226177 h 2286625"/>
                <a:gd name="connsiteX24" fmla="*/ 2438400 w 2679700"/>
                <a:gd name="connsiteY24" fmla="*/ 1321427 h 2286625"/>
                <a:gd name="connsiteX25" fmla="*/ 2381250 w 2679700"/>
                <a:gd name="connsiteY25" fmla="*/ 1302377 h 2286625"/>
                <a:gd name="connsiteX26" fmla="*/ 2279650 w 2679700"/>
                <a:gd name="connsiteY26" fmla="*/ 1378577 h 2286625"/>
                <a:gd name="connsiteX27" fmla="*/ 2260600 w 2679700"/>
                <a:gd name="connsiteY27" fmla="*/ 1454777 h 2286625"/>
                <a:gd name="connsiteX28" fmla="*/ 2317750 w 2679700"/>
                <a:gd name="connsiteY28" fmla="*/ 1588127 h 2286625"/>
                <a:gd name="connsiteX29" fmla="*/ 2273300 w 2679700"/>
                <a:gd name="connsiteY29" fmla="*/ 1632577 h 2286625"/>
                <a:gd name="connsiteX30" fmla="*/ 2203450 w 2679700"/>
                <a:gd name="connsiteY30" fmla="*/ 1632577 h 2286625"/>
                <a:gd name="connsiteX31" fmla="*/ 2171700 w 2679700"/>
                <a:gd name="connsiteY31" fmla="*/ 1696077 h 2286625"/>
                <a:gd name="connsiteX32" fmla="*/ 2171700 w 2679700"/>
                <a:gd name="connsiteY32" fmla="*/ 1746877 h 2286625"/>
                <a:gd name="connsiteX33" fmla="*/ 2057400 w 2679700"/>
                <a:gd name="connsiteY33" fmla="*/ 1753227 h 2286625"/>
                <a:gd name="connsiteX34" fmla="*/ 2025650 w 2679700"/>
                <a:gd name="connsiteY34" fmla="*/ 1645277 h 2286625"/>
                <a:gd name="connsiteX35" fmla="*/ 1936750 w 2679700"/>
                <a:gd name="connsiteY35" fmla="*/ 1772277 h 2286625"/>
                <a:gd name="connsiteX36" fmla="*/ 1974850 w 2679700"/>
                <a:gd name="connsiteY36" fmla="*/ 1816727 h 2286625"/>
                <a:gd name="connsiteX37" fmla="*/ 2032000 w 2679700"/>
                <a:gd name="connsiteY37" fmla="*/ 1854827 h 2286625"/>
                <a:gd name="connsiteX38" fmla="*/ 1974850 w 2679700"/>
                <a:gd name="connsiteY38" fmla="*/ 1924677 h 2286625"/>
                <a:gd name="connsiteX39" fmla="*/ 1984153 w 2679700"/>
                <a:gd name="connsiteY39" fmla="*/ 1945821 h 2286625"/>
                <a:gd name="connsiteX40" fmla="*/ 1962150 w 2679700"/>
                <a:gd name="connsiteY40" fmla="*/ 1943725 h 2286625"/>
                <a:gd name="connsiteX41" fmla="*/ 1873250 w 2679700"/>
                <a:gd name="connsiteY41" fmla="*/ 1994525 h 2286625"/>
                <a:gd name="connsiteX42" fmla="*/ 1828800 w 2679700"/>
                <a:gd name="connsiteY42" fmla="*/ 1956425 h 2286625"/>
                <a:gd name="connsiteX43" fmla="*/ 1701800 w 2679700"/>
                <a:gd name="connsiteY43" fmla="*/ 1981825 h 2286625"/>
                <a:gd name="connsiteX44" fmla="*/ 1568450 w 2679700"/>
                <a:gd name="connsiteY44" fmla="*/ 2032625 h 2286625"/>
                <a:gd name="connsiteX45" fmla="*/ 1562100 w 2679700"/>
                <a:gd name="connsiteY45" fmla="*/ 1969125 h 2286625"/>
                <a:gd name="connsiteX46" fmla="*/ 1492250 w 2679700"/>
                <a:gd name="connsiteY46" fmla="*/ 1905625 h 2286625"/>
                <a:gd name="connsiteX47" fmla="*/ 1466850 w 2679700"/>
                <a:gd name="connsiteY47" fmla="*/ 1810375 h 2286625"/>
                <a:gd name="connsiteX48" fmla="*/ 1403350 w 2679700"/>
                <a:gd name="connsiteY48" fmla="*/ 1816725 h 2286625"/>
                <a:gd name="connsiteX49" fmla="*/ 1333500 w 2679700"/>
                <a:gd name="connsiteY49" fmla="*/ 1899275 h 2286625"/>
                <a:gd name="connsiteX50" fmla="*/ 1358900 w 2679700"/>
                <a:gd name="connsiteY50" fmla="*/ 2038975 h 2286625"/>
                <a:gd name="connsiteX51" fmla="*/ 1320800 w 2679700"/>
                <a:gd name="connsiteY51" fmla="*/ 2172325 h 2286625"/>
                <a:gd name="connsiteX52" fmla="*/ 1219200 w 2679700"/>
                <a:gd name="connsiteY52" fmla="*/ 2159625 h 2286625"/>
                <a:gd name="connsiteX53" fmla="*/ 1193800 w 2679700"/>
                <a:gd name="connsiteY53" fmla="*/ 2058025 h 2286625"/>
                <a:gd name="connsiteX54" fmla="*/ 1168400 w 2679700"/>
                <a:gd name="connsiteY54" fmla="*/ 2058025 h 2286625"/>
                <a:gd name="connsiteX55" fmla="*/ 1060450 w 2679700"/>
                <a:gd name="connsiteY55" fmla="*/ 2064375 h 2286625"/>
                <a:gd name="connsiteX56" fmla="*/ 1066800 w 2679700"/>
                <a:gd name="connsiteY56" fmla="*/ 2000875 h 2286625"/>
                <a:gd name="connsiteX57" fmla="*/ 965200 w 2679700"/>
                <a:gd name="connsiteY57" fmla="*/ 1988175 h 2286625"/>
                <a:gd name="connsiteX58" fmla="*/ 812800 w 2679700"/>
                <a:gd name="connsiteY58" fmla="*/ 2045325 h 2286625"/>
                <a:gd name="connsiteX59" fmla="*/ 825500 w 2679700"/>
                <a:gd name="connsiteY59" fmla="*/ 2096125 h 2286625"/>
                <a:gd name="connsiteX60" fmla="*/ 876300 w 2679700"/>
                <a:gd name="connsiteY60" fmla="*/ 2140575 h 2286625"/>
                <a:gd name="connsiteX61" fmla="*/ 933450 w 2679700"/>
                <a:gd name="connsiteY61" fmla="*/ 2172325 h 2286625"/>
                <a:gd name="connsiteX62" fmla="*/ 927100 w 2679700"/>
                <a:gd name="connsiteY62" fmla="*/ 2223125 h 2286625"/>
                <a:gd name="connsiteX63" fmla="*/ 825500 w 2679700"/>
                <a:gd name="connsiteY63" fmla="*/ 2216775 h 2286625"/>
                <a:gd name="connsiteX64" fmla="*/ 800100 w 2679700"/>
                <a:gd name="connsiteY64" fmla="*/ 2286625 h 2286625"/>
                <a:gd name="connsiteX65" fmla="*/ 717550 w 2679700"/>
                <a:gd name="connsiteY65" fmla="*/ 2242175 h 2286625"/>
                <a:gd name="connsiteX66" fmla="*/ 666750 w 2679700"/>
                <a:gd name="connsiteY66" fmla="*/ 2077075 h 2286625"/>
                <a:gd name="connsiteX67" fmla="*/ 558800 w 2679700"/>
                <a:gd name="connsiteY67" fmla="*/ 1969125 h 2286625"/>
                <a:gd name="connsiteX68" fmla="*/ 508000 w 2679700"/>
                <a:gd name="connsiteY68" fmla="*/ 1988175 h 2286625"/>
                <a:gd name="connsiteX69" fmla="*/ 450850 w 2679700"/>
                <a:gd name="connsiteY69" fmla="*/ 1867525 h 2286625"/>
                <a:gd name="connsiteX70" fmla="*/ 336550 w 2679700"/>
                <a:gd name="connsiteY70" fmla="*/ 1791325 h 2286625"/>
                <a:gd name="connsiteX71" fmla="*/ 247650 w 2679700"/>
                <a:gd name="connsiteY71" fmla="*/ 1753225 h 2286625"/>
                <a:gd name="connsiteX72" fmla="*/ 165100 w 2679700"/>
                <a:gd name="connsiteY72" fmla="*/ 1848475 h 2286625"/>
                <a:gd name="connsiteX73" fmla="*/ 171450 w 2679700"/>
                <a:gd name="connsiteY73" fmla="*/ 1664325 h 2286625"/>
                <a:gd name="connsiteX74" fmla="*/ 209550 w 2679700"/>
                <a:gd name="connsiteY74" fmla="*/ 1626225 h 2286625"/>
                <a:gd name="connsiteX75" fmla="*/ 171450 w 2679700"/>
                <a:gd name="connsiteY75" fmla="*/ 1575425 h 2286625"/>
                <a:gd name="connsiteX76" fmla="*/ 95250 w 2679700"/>
                <a:gd name="connsiteY76" fmla="*/ 1581775 h 2286625"/>
                <a:gd name="connsiteX77" fmla="*/ 107950 w 2679700"/>
                <a:gd name="connsiteY77" fmla="*/ 1632575 h 2286625"/>
                <a:gd name="connsiteX78" fmla="*/ 57150 w 2679700"/>
                <a:gd name="connsiteY78" fmla="*/ 1645275 h 2286625"/>
                <a:gd name="connsiteX79" fmla="*/ 0 w 2679700"/>
                <a:gd name="connsiteY79" fmla="*/ 1588125 h 2286625"/>
                <a:gd name="connsiteX80" fmla="*/ 82550 w 2679700"/>
                <a:gd name="connsiteY80" fmla="*/ 1340475 h 2286625"/>
                <a:gd name="connsiteX81" fmla="*/ 165100 w 2679700"/>
                <a:gd name="connsiteY81" fmla="*/ 1327775 h 2286625"/>
                <a:gd name="connsiteX82" fmla="*/ 171450 w 2679700"/>
                <a:gd name="connsiteY82" fmla="*/ 1238875 h 2286625"/>
                <a:gd name="connsiteX83" fmla="*/ 127000 w 2679700"/>
                <a:gd name="connsiteY83" fmla="*/ 1226175 h 2286625"/>
                <a:gd name="connsiteX84" fmla="*/ 88900 w 2679700"/>
                <a:gd name="connsiteY84" fmla="*/ 1226175 h 2286625"/>
                <a:gd name="connsiteX85" fmla="*/ 88900 w 2679700"/>
                <a:gd name="connsiteY85" fmla="*/ 1169025 h 2286625"/>
                <a:gd name="connsiteX86" fmla="*/ 171450 w 2679700"/>
                <a:gd name="connsiteY86" fmla="*/ 1169025 h 2286625"/>
                <a:gd name="connsiteX87" fmla="*/ 139700 w 2679700"/>
                <a:gd name="connsiteY87" fmla="*/ 1073775 h 2286625"/>
                <a:gd name="connsiteX88" fmla="*/ 228600 w 2679700"/>
                <a:gd name="connsiteY88" fmla="*/ 1067425 h 2286625"/>
                <a:gd name="connsiteX89" fmla="*/ 304800 w 2679700"/>
                <a:gd name="connsiteY89" fmla="*/ 1086475 h 2286625"/>
                <a:gd name="connsiteX90" fmla="*/ 342900 w 2679700"/>
                <a:gd name="connsiteY90" fmla="*/ 1048375 h 2286625"/>
                <a:gd name="connsiteX91" fmla="*/ 260350 w 2679700"/>
                <a:gd name="connsiteY91" fmla="*/ 972175 h 2286625"/>
                <a:gd name="connsiteX92" fmla="*/ 285750 w 2679700"/>
                <a:gd name="connsiteY92" fmla="*/ 921375 h 2286625"/>
                <a:gd name="connsiteX93" fmla="*/ 234950 w 2679700"/>
                <a:gd name="connsiteY93" fmla="*/ 864225 h 2286625"/>
                <a:gd name="connsiteX94" fmla="*/ 317500 w 2679700"/>
                <a:gd name="connsiteY94" fmla="*/ 889625 h 2286625"/>
                <a:gd name="connsiteX95" fmla="*/ 342900 w 2679700"/>
                <a:gd name="connsiteY95" fmla="*/ 807075 h 2286625"/>
                <a:gd name="connsiteX96" fmla="*/ 209550 w 2679700"/>
                <a:gd name="connsiteY96" fmla="*/ 762625 h 2286625"/>
                <a:gd name="connsiteX97" fmla="*/ 184150 w 2679700"/>
                <a:gd name="connsiteY97" fmla="*/ 673725 h 2286625"/>
                <a:gd name="connsiteX98" fmla="*/ 88900 w 2679700"/>
                <a:gd name="connsiteY98" fmla="*/ 641975 h 2286625"/>
                <a:gd name="connsiteX99" fmla="*/ 63500 w 2679700"/>
                <a:gd name="connsiteY99" fmla="*/ 508625 h 2286625"/>
                <a:gd name="connsiteX100" fmla="*/ 58425 w 2679700"/>
                <a:gd name="connsiteY100" fmla="*/ 499256 h 2286625"/>
                <a:gd name="connsiteX101" fmla="*/ 359768 w 2679700"/>
                <a:gd name="connsiteY101" fmla="*/ 330504 h 2286625"/>
                <a:gd name="connsiteX102" fmla="*/ 455018 w 2679700"/>
                <a:gd name="connsiteY102" fmla="*/ 184454 h 2286625"/>
                <a:gd name="connsiteX103" fmla="*/ 543918 w 2679700"/>
                <a:gd name="connsiteY103" fmla="*/ 184454 h 2286625"/>
                <a:gd name="connsiteX104" fmla="*/ 569318 w 2679700"/>
                <a:gd name="connsiteY104" fmla="*/ 228904 h 2286625"/>
                <a:gd name="connsiteX105" fmla="*/ 702668 w 2679700"/>
                <a:gd name="connsiteY105" fmla="*/ 222554 h 2286625"/>
                <a:gd name="connsiteX106" fmla="*/ 772518 w 2679700"/>
                <a:gd name="connsiteY106" fmla="*/ 114604 h 2286625"/>
                <a:gd name="connsiteX107" fmla="*/ 772518 w 2679700"/>
                <a:gd name="connsiteY107" fmla="*/ 114604 h 2286625"/>
                <a:gd name="connsiteX108" fmla="*/ 721958 w 2679700"/>
                <a:gd name="connsiteY108" fmla="*/ 0 h 2286625"/>
                <a:gd name="connsiteX109" fmla="*/ 772518 w 2679700"/>
                <a:gd name="connsiteY109" fmla="*/ 114604 h 2286625"/>
                <a:gd name="connsiteX0" fmla="*/ 772518 w 2679700"/>
                <a:gd name="connsiteY0" fmla="*/ 0 h 2172021"/>
                <a:gd name="connsiteX1" fmla="*/ 770406 w 2679700"/>
                <a:gd name="connsiteY1" fmla="*/ 3264 h 2172021"/>
                <a:gd name="connsiteX2" fmla="*/ 1018540 w 2679700"/>
                <a:gd name="connsiteY2" fmla="*/ 33341 h 2172021"/>
                <a:gd name="connsiteX3" fmla="*/ 1003300 w 2679700"/>
                <a:gd name="connsiteY3" fmla="*/ 132401 h 2172021"/>
                <a:gd name="connsiteX4" fmla="*/ 1079500 w 2679700"/>
                <a:gd name="connsiteY4" fmla="*/ 345761 h 2172021"/>
                <a:gd name="connsiteX5" fmla="*/ 1422400 w 2679700"/>
                <a:gd name="connsiteY5" fmla="*/ 376241 h 2172021"/>
                <a:gd name="connsiteX6" fmla="*/ 1529080 w 2679700"/>
                <a:gd name="connsiteY6" fmla="*/ 513401 h 2172021"/>
                <a:gd name="connsiteX7" fmla="*/ 1460500 w 2679700"/>
                <a:gd name="connsiteY7" fmla="*/ 612461 h 2172021"/>
                <a:gd name="connsiteX8" fmla="*/ 1445260 w 2679700"/>
                <a:gd name="connsiteY8" fmla="*/ 673421 h 2172021"/>
                <a:gd name="connsiteX9" fmla="*/ 1506220 w 2679700"/>
                <a:gd name="connsiteY9" fmla="*/ 673421 h 2172021"/>
                <a:gd name="connsiteX10" fmla="*/ 1559560 w 2679700"/>
                <a:gd name="connsiteY10" fmla="*/ 841061 h 2172021"/>
                <a:gd name="connsiteX11" fmla="*/ 1628140 w 2679700"/>
                <a:gd name="connsiteY11" fmla="*/ 787721 h 2172021"/>
                <a:gd name="connsiteX12" fmla="*/ 1788160 w 2679700"/>
                <a:gd name="connsiteY12" fmla="*/ 894401 h 2172021"/>
                <a:gd name="connsiteX13" fmla="*/ 1948180 w 2679700"/>
                <a:gd name="connsiteY13" fmla="*/ 909641 h 2172021"/>
                <a:gd name="connsiteX14" fmla="*/ 2054860 w 2679700"/>
                <a:gd name="connsiteY14" fmla="*/ 1016321 h 2172021"/>
                <a:gd name="connsiteX15" fmla="*/ 2237740 w 2679700"/>
                <a:gd name="connsiteY15" fmla="*/ 1054421 h 2172021"/>
                <a:gd name="connsiteX16" fmla="*/ 2329180 w 2679700"/>
                <a:gd name="connsiteY16" fmla="*/ 947741 h 2172021"/>
                <a:gd name="connsiteX17" fmla="*/ 2245360 w 2679700"/>
                <a:gd name="connsiteY17" fmla="*/ 879161 h 2172021"/>
                <a:gd name="connsiteX18" fmla="*/ 2306320 w 2679700"/>
                <a:gd name="connsiteY18" fmla="*/ 848681 h 2172021"/>
                <a:gd name="connsiteX19" fmla="*/ 2303915 w 2679700"/>
                <a:gd name="connsiteY19" fmla="*/ 844873 h 2172021"/>
                <a:gd name="connsiteX20" fmla="*/ 2476500 w 2679700"/>
                <a:gd name="connsiteY20" fmla="*/ 844873 h 2172021"/>
                <a:gd name="connsiteX21" fmla="*/ 2578100 w 2679700"/>
                <a:gd name="connsiteY21" fmla="*/ 984573 h 2172021"/>
                <a:gd name="connsiteX22" fmla="*/ 2679700 w 2679700"/>
                <a:gd name="connsiteY22" fmla="*/ 1105223 h 2172021"/>
                <a:gd name="connsiteX23" fmla="*/ 2508250 w 2679700"/>
                <a:gd name="connsiteY23" fmla="*/ 1111573 h 2172021"/>
                <a:gd name="connsiteX24" fmla="*/ 2438400 w 2679700"/>
                <a:gd name="connsiteY24" fmla="*/ 1206823 h 2172021"/>
                <a:gd name="connsiteX25" fmla="*/ 2381250 w 2679700"/>
                <a:gd name="connsiteY25" fmla="*/ 1187773 h 2172021"/>
                <a:gd name="connsiteX26" fmla="*/ 2279650 w 2679700"/>
                <a:gd name="connsiteY26" fmla="*/ 1263973 h 2172021"/>
                <a:gd name="connsiteX27" fmla="*/ 2260600 w 2679700"/>
                <a:gd name="connsiteY27" fmla="*/ 1340173 h 2172021"/>
                <a:gd name="connsiteX28" fmla="*/ 2317750 w 2679700"/>
                <a:gd name="connsiteY28" fmla="*/ 1473523 h 2172021"/>
                <a:gd name="connsiteX29" fmla="*/ 2273300 w 2679700"/>
                <a:gd name="connsiteY29" fmla="*/ 1517973 h 2172021"/>
                <a:gd name="connsiteX30" fmla="*/ 2203450 w 2679700"/>
                <a:gd name="connsiteY30" fmla="*/ 1517973 h 2172021"/>
                <a:gd name="connsiteX31" fmla="*/ 2171700 w 2679700"/>
                <a:gd name="connsiteY31" fmla="*/ 1581473 h 2172021"/>
                <a:gd name="connsiteX32" fmla="*/ 2171700 w 2679700"/>
                <a:gd name="connsiteY32" fmla="*/ 1632273 h 2172021"/>
                <a:gd name="connsiteX33" fmla="*/ 2057400 w 2679700"/>
                <a:gd name="connsiteY33" fmla="*/ 1638623 h 2172021"/>
                <a:gd name="connsiteX34" fmla="*/ 2025650 w 2679700"/>
                <a:gd name="connsiteY34" fmla="*/ 1530673 h 2172021"/>
                <a:gd name="connsiteX35" fmla="*/ 1936750 w 2679700"/>
                <a:gd name="connsiteY35" fmla="*/ 1657673 h 2172021"/>
                <a:gd name="connsiteX36" fmla="*/ 1974850 w 2679700"/>
                <a:gd name="connsiteY36" fmla="*/ 1702123 h 2172021"/>
                <a:gd name="connsiteX37" fmla="*/ 2032000 w 2679700"/>
                <a:gd name="connsiteY37" fmla="*/ 1740223 h 2172021"/>
                <a:gd name="connsiteX38" fmla="*/ 1974850 w 2679700"/>
                <a:gd name="connsiteY38" fmla="*/ 1810073 h 2172021"/>
                <a:gd name="connsiteX39" fmla="*/ 1984153 w 2679700"/>
                <a:gd name="connsiteY39" fmla="*/ 1831217 h 2172021"/>
                <a:gd name="connsiteX40" fmla="*/ 1962150 w 2679700"/>
                <a:gd name="connsiteY40" fmla="*/ 1829121 h 2172021"/>
                <a:gd name="connsiteX41" fmla="*/ 1873250 w 2679700"/>
                <a:gd name="connsiteY41" fmla="*/ 1879921 h 2172021"/>
                <a:gd name="connsiteX42" fmla="*/ 1828800 w 2679700"/>
                <a:gd name="connsiteY42" fmla="*/ 1841821 h 2172021"/>
                <a:gd name="connsiteX43" fmla="*/ 1701800 w 2679700"/>
                <a:gd name="connsiteY43" fmla="*/ 1867221 h 2172021"/>
                <a:gd name="connsiteX44" fmla="*/ 1568450 w 2679700"/>
                <a:gd name="connsiteY44" fmla="*/ 1918021 h 2172021"/>
                <a:gd name="connsiteX45" fmla="*/ 1562100 w 2679700"/>
                <a:gd name="connsiteY45" fmla="*/ 1854521 h 2172021"/>
                <a:gd name="connsiteX46" fmla="*/ 1492250 w 2679700"/>
                <a:gd name="connsiteY46" fmla="*/ 1791021 h 2172021"/>
                <a:gd name="connsiteX47" fmla="*/ 1466850 w 2679700"/>
                <a:gd name="connsiteY47" fmla="*/ 1695771 h 2172021"/>
                <a:gd name="connsiteX48" fmla="*/ 1403350 w 2679700"/>
                <a:gd name="connsiteY48" fmla="*/ 1702121 h 2172021"/>
                <a:gd name="connsiteX49" fmla="*/ 1333500 w 2679700"/>
                <a:gd name="connsiteY49" fmla="*/ 1784671 h 2172021"/>
                <a:gd name="connsiteX50" fmla="*/ 1358900 w 2679700"/>
                <a:gd name="connsiteY50" fmla="*/ 1924371 h 2172021"/>
                <a:gd name="connsiteX51" fmla="*/ 1320800 w 2679700"/>
                <a:gd name="connsiteY51" fmla="*/ 2057721 h 2172021"/>
                <a:gd name="connsiteX52" fmla="*/ 1219200 w 2679700"/>
                <a:gd name="connsiteY52" fmla="*/ 2045021 h 2172021"/>
                <a:gd name="connsiteX53" fmla="*/ 1193800 w 2679700"/>
                <a:gd name="connsiteY53" fmla="*/ 1943421 h 2172021"/>
                <a:gd name="connsiteX54" fmla="*/ 1168400 w 2679700"/>
                <a:gd name="connsiteY54" fmla="*/ 1943421 h 2172021"/>
                <a:gd name="connsiteX55" fmla="*/ 1060450 w 2679700"/>
                <a:gd name="connsiteY55" fmla="*/ 1949771 h 2172021"/>
                <a:gd name="connsiteX56" fmla="*/ 1066800 w 2679700"/>
                <a:gd name="connsiteY56" fmla="*/ 1886271 h 2172021"/>
                <a:gd name="connsiteX57" fmla="*/ 965200 w 2679700"/>
                <a:gd name="connsiteY57" fmla="*/ 1873571 h 2172021"/>
                <a:gd name="connsiteX58" fmla="*/ 812800 w 2679700"/>
                <a:gd name="connsiteY58" fmla="*/ 1930721 h 2172021"/>
                <a:gd name="connsiteX59" fmla="*/ 825500 w 2679700"/>
                <a:gd name="connsiteY59" fmla="*/ 1981521 h 2172021"/>
                <a:gd name="connsiteX60" fmla="*/ 876300 w 2679700"/>
                <a:gd name="connsiteY60" fmla="*/ 2025971 h 2172021"/>
                <a:gd name="connsiteX61" fmla="*/ 933450 w 2679700"/>
                <a:gd name="connsiteY61" fmla="*/ 2057721 h 2172021"/>
                <a:gd name="connsiteX62" fmla="*/ 927100 w 2679700"/>
                <a:gd name="connsiteY62" fmla="*/ 2108521 h 2172021"/>
                <a:gd name="connsiteX63" fmla="*/ 825500 w 2679700"/>
                <a:gd name="connsiteY63" fmla="*/ 2102171 h 2172021"/>
                <a:gd name="connsiteX64" fmla="*/ 800100 w 2679700"/>
                <a:gd name="connsiteY64" fmla="*/ 2172021 h 2172021"/>
                <a:gd name="connsiteX65" fmla="*/ 717550 w 2679700"/>
                <a:gd name="connsiteY65" fmla="*/ 2127571 h 2172021"/>
                <a:gd name="connsiteX66" fmla="*/ 666750 w 2679700"/>
                <a:gd name="connsiteY66" fmla="*/ 1962471 h 2172021"/>
                <a:gd name="connsiteX67" fmla="*/ 558800 w 2679700"/>
                <a:gd name="connsiteY67" fmla="*/ 1854521 h 2172021"/>
                <a:gd name="connsiteX68" fmla="*/ 508000 w 2679700"/>
                <a:gd name="connsiteY68" fmla="*/ 1873571 h 2172021"/>
                <a:gd name="connsiteX69" fmla="*/ 450850 w 2679700"/>
                <a:gd name="connsiteY69" fmla="*/ 1752921 h 2172021"/>
                <a:gd name="connsiteX70" fmla="*/ 336550 w 2679700"/>
                <a:gd name="connsiteY70" fmla="*/ 1676721 h 2172021"/>
                <a:gd name="connsiteX71" fmla="*/ 247650 w 2679700"/>
                <a:gd name="connsiteY71" fmla="*/ 1638621 h 2172021"/>
                <a:gd name="connsiteX72" fmla="*/ 165100 w 2679700"/>
                <a:gd name="connsiteY72" fmla="*/ 1733871 h 2172021"/>
                <a:gd name="connsiteX73" fmla="*/ 171450 w 2679700"/>
                <a:gd name="connsiteY73" fmla="*/ 1549721 h 2172021"/>
                <a:gd name="connsiteX74" fmla="*/ 209550 w 2679700"/>
                <a:gd name="connsiteY74" fmla="*/ 1511621 h 2172021"/>
                <a:gd name="connsiteX75" fmla="*/ 171450 w 2679700"/>
                <a:gd name="connsiteY75" fmla="*/ 1460821 h 2172021"/>
                <a:gd name="connsiteX76" fmla="*/ 95250 w 2679700"/>
                <a:gd name="connsiteY76" fmla="*/ 1467171 h 2172021"/>
                <a:gd name="connsiteX77" fmla="*/ 107950 w 2679700"/>
                <a:gd name="connsiteY77" fmla="*/ 1517971 h 2172021"/>
                <a:gd name="connsiteX78" fmla="*/ 57150 w 2679700"/>
                <a:gd name="connsiteY78" fmla="*/ 1530671 h 2172021"/>
                <a:gd name="connsiteX79" fmla="*/ 0 w 2679700"/>
                <a:gd name="connsiteY79" fmla="*/ 1473521 h 2172021"/>
                <a:gd name="connsiteX80" fmla="*/ 82550 w 2679700"/>
                <a:gd name="connsiteY80" fmla="*/ 1225871 h 2172021"/>
                <a:gd name="connsiteX81" fmla="*/ 165100 w 2679700"/>
                <a:gd name="connsiteY81" fmla="*/ 1213171 h 2172021"/>
                <a:gd name="connsiteX82" fmla="*/ 171450 w 2679700"/>
                <a:gd name="connsiteY82" fmla="*/ 1124271 h 2172021"/>
                <a:gd name="connsiteX83" fmla="*/ 127000 w 2679700"/>
                <a:gd name="connsiteY83" fmla="*/ 1111571 h 2172021"/>
                <a:gd name="connsiteX84" fmla="*/ 88900 w 2679700"/>
                <a:gd name="connsiteY84" fmla="*/ 1111571 h 2172021"/>
                <a:gd name="connsiteX85" fmla="*/ 88900 w 2679700"/>
                <a:gd name="connsiteY85" fmla="*/ 1054421 h 2172021"/>
                <a:gd name="connsiteX86" fmla="*/ 171450 w 2679700"/>
                <a:gd name="connsiteY86" fmla="*/ 1054421 h 2172021"/>
                <a:gd name="connsiteX87" fmla="*/ 139700 w 2679700"/>
                <a:gd name="connsiteY87" fmla="*/ 959171 h 2172021"/>
                <a:gd name="connsiteX88" fmla="*/ 228600 w 2679700"/>
                <a:gd name="connsiteY88" fmla="*/ 952821 h 2172021"/>
                <a:gd name="connsiteX89" fmla="*/ 304800 w 2679700"/>
                <a:gd name="connsiteY89" fmla="*/ 971871 h 2172021"/>
                <a:gd name="connsiteX90" fmla="*/ 342900 w 2679700"/>
                <a:gd name="connsiteY90" fmla="*/ 933771 h 2172021"/>
                <a:gd name="connsiteX91" fmla="*/ 260350 w 2679700"/>
                <a:gd name="connsiteY91" fmla="*/ 857571 h 2172021"/>
                <a:gd name="connsiteX92" fmla="*/ 285750 w 2679700"/>
                <a:gd name="connsiteY92" fmla="*/ 806771 h 2172021"/>
                <a:gd name="connsiteX93" fmla="*/ 234950 w 2679700"/>
                <a:gd name="connsiteY93" fmla="*/ 749621 h 2172021"/>
                <a:gd name="connsiteX94" fmla="*/ 317500 w 2679700"/>
                <a:gd name="connsiteY94" fmla="*/ 775021 h 2172021"/>
                <a:gd name="connsiteX95" fmla="*/ 342900 w 2679700"/>
                <a:gd name="connsiteY95" fmla="*/ 692471 h 2172021"/>
                <a:gd name="connsiteX96" fmla="*/ 209550 w 2679700"/>
                <a:gd name="connsiteY96" fmla="*/ 648021 h 2172021"/>
                <a:gd name="connsiteX97" fmla="*/ 184150 w 2679700"/>
                <a:gd name="connsiteY97" fmla="*/ 559121 h 2172021"/>
                <a:gd name="connsiteX98" fmla="*/ 88900 w 2679700"/>
                <a:gd name="connsiteY98" fmla="*/ 527371 h 2172021"/>
                <a:gd name="connsiteX99" fmla="*/ 63500 w 2679700"/>
                <a:gd name="connsiteY99" fmla="*/ 394021 h 2172021"/>
                <a:gd name="connsiteX100" fmla="*/ 58425 w 2679700"/>
                <a:gd name="connsiteY100" fmla="*/ 384652 h 2172021"/>
                <a:gd name="connsiteX101" fmla="*/ 359768 w 2679700"/>
                <a:gd name="connsiteY101" fmla="*/ 215900 h 2172021"/>
                <a:gd name="connsiteX102" fmla="*/ 455018 w 2679700"/>
                <a:gd name="connsiteY102" fmla="*/ 69850 h 2172021"/>
                <a:gd name="connsiteX103" fmla="*/ 543918 w 2679700"/>
                <a:gd name="connsiteY103" fmla="*/ 69850 h 2172021"/>
                <a:gd name="connsiteX104" fmla="*/ 569318 w 2679700"/>
                <a:gd name="connsiteY104" fmla="*/ 114300 h 2172021"/>
                <a:gd name="connsiteX105" fmla="*/ 702668 w 2679700"/>
                <a:gd name="connsiteY105" fmla="*/ 107950 h 2172021"/>
                <a:gd name="connsiteX106" fmla="*/ 772518 w 2679700"/>
                <a:gd name="connsiteY106" fmla="*/ 0 h 21720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</a:cxnLst>
              <a:rect l="l" t="t" r="r" b="b"/>
              <a:pathLst>
                <a:path w="2679700" h="2172021">
                  <a:moveTo>
                    <a:pt x="772518" y="0"/>
                  </a:moveTo>
                  <a:lnTo>
                    <a:pt x="770406" y="3264"/>
                  </a:lnTo>
                  <a:lnTo>
                    <a:pt x="1018540" y="33341"/>
                  </a:lnTo>
                  <a:lnTo>
                    <a:pt x="1003300" y="132401"/>
                  </a:lnTo>
                  <a:lnTo>
                    <a:pt x="1079500" y="345761"/>
                  </a:lnTo>
                  <a:lnTo>
                    <a:pt x="1422400" y="376241"/>
                  </a:lnTo>
                  <a:lnTo>
                    <a:pt x="1529080" y="513401"/>
                  </a:lnTo>
                  <a:lnTo>
                    <a:pt x="1460500" y="612461"/>
                  </a:lnTo>
                  <a:lnTo>
                    <a:pt x="1445260" y="673421"/>
                  </a:lnTo>
                  <a:lnTo>
                    <a:pt x="1506220" y="673421"/>
                  </a:lnTo>
                  <a:lnTo>
                    <a:pt x="1559560" y="841061"/>
                  </a:lnTo>
                  <a:lnTo>
                    <a:pt x="1628140" y="787721"/>
                  </a:lnTo>
                  <a:lnTo>
                    <a:pt x="1788160" y="894401"/>
                  </a:lnTo>
                  <a:lnTo>
                    <a:pt x="1948180" y="909641"/>
                  </a:lnTo>
                  <a:lnTo>
                    <a:pt x="2054860" y="1016321"/>
                  </a:lnTo>
                  <a:lnTo>
                    <a:pt x="2237740" y="1054421"/>
                  </a:lnTo>
                  <a:lnTo>
                    <a:pt x="2329180" y="947741"/>
                  </a:lnTo>
                  <a:lnTo>
                    <a:pt x="2245360" y="879161"/>
                  </a:lnTo>
                  <a:lnTo>
                    <a:pt x="2306320" y="848681"/>
                  </a:lnTo>
                  <a:lnTo>
                    <a:pt x="2303915" y="844873"/>
                  </a:lnTo>
                  <a:lnTo>
                    <a:pt x="2476500" y="844873"/>
                  </a:lnTo>
                  <a:lnTo>
                    <a:pt x="2578100" y="984573"/>
                  </a:lnTo>
                  <a:lnTo>
                    <a:pt x="2679700" y="1105223"/>
                  </a:lnTo>
                  <a:lnTo>
                    <a:pt x="2508250" y="1111573"/>
                  </a:lnTo>
                  <a:lnTo>
                    <a:pt x="2438400" y="1206823"/>
                  </a:lnTo>
                  <a:lnTo>
                    <a:pt x="2381250" y="1187773"/>
                  </a:lnTo>
                  <a:lnTo>
                    <a:pt x="2279650" y="1263973"/>
                  </a:lnTo>
                  <a:lnTo>
                    <a:pt x="2260600" y="1340173"/>
                  </a:lnTo>
                  <a:lnTo>
                    <a:pt x="2317750" y="1473523"/>
                  </a:lnTo>
                  <a:lnTo>
                    <a:pt x="2273300" y="1517973"/>
                  </a:lnTo>
                  <a:lnTo>
                    <a:pt x="2203450" y="1517973"/>
                  </a:lnTo>
                  <a:lnTo>
                    <a:pt x="2171700" y="1581473"/>
                  </a:lnTo>
                  <a:lnTo>
                    <a:pt x="2171700" y="1632273"/>
                  </a:lnTo>
                  <a:lnTo>
                    <a:pt x="2057400" y="1638623"/>
                  </a:lnTo>
                  <a:lnTo>
                    <a:pt x="2025650" y="1530673"/>
                  </a:lnTo>
                  <a:lnTo>
                    <a:pt x="1936750" y="1657673"/>
                  </a:lnTo>
                  <a:lnTo>
                    <a:pt x="1974850" y="1702123"/>
                  </a:lnTo>
                  <a:lnTo>
                    <a:pt x="2032000" y="1740223"/>
                  </a:lnTo>
                  <a:lnTo>
                    <a:pt x="1974850" y="1810073"/>
                  </a:lnTo>
                  <a:lnTo>
                    <a:pt x="1984153" y="1831217"/>
                  </a:lnTo>
                  <a:lnTo>
                    <a:pt x="1962150" y="1829121"/>
                  </a:lnTo>
                  <a:lnTo>
                    <a:pt x="1873250" y="1879921"/>
                  </a:lnTo>
                  <a:lnTo>
                    <a:pt x="1828800" y="1841821"/>
                  </a:lnTo>
                  <a:lnTo>
                    <a:pt x="1701800" y="1867221"/>
                  </a:lnTo>
                  <a:lnTo>
                    <a:pt x="1568450" y="1918021"/>
                  </a:lnTo>
                  <a:lnTo>
                    <a:pt x="1562100" y="1854521"/>
                  </a:lnTo>
                  <a:lnTo>
                    <a:pt x="1492250" y="1791021"/>
                  </a:lnTo>
                  <a:lnTo>
                    <a:pt x="1466850" y="1695771"/>
                  </a:lnTo>
                  <a:lnTo>
                    <a:pt x="1403350" y="1702121"/>
                  </a:lnTo>
                  <a:lnTo>
                    <a:pt x="1333500" y="1784671"/>
                  </a:lnTo>
                  <a:lnTo>
                    <a:pt x="1358900" y="1924371"/>
                  </a:lnTo>
                  <a:lnTo>
                    <a:pt x="1320800" y="2057721"/>
                  </a:lnTo>
                  <a:lnTo>
                    <a:pt x="1219200" y="2045021"/>
                  </a:lnTo>
                  <a:lnTo>
                    <a:pt x="1193800" y="1943421"/>
                  </a:lnTo>
                  <a:lnTo>
                    <a:pt x="1168400" y="1943421"/>
                  </a:lnTo>
                  <a:lnTo>
                    <a:pt x="1060450" y="1949771"/>
                  </a:lnTo>
                  <a:lnTo>
                    <a:pt x="1066800" y="1886271"/>
                  </a:lnTo>
                  <a:lnTo>
                    <a:pt x="965200" y="1873571"/>
                  </a:lnTo>
                  <a:lnTo>
                    <a:pt x="812800" y="1930721"/>
                  </a:lnTo>
                  <a:lnTo>
                    <a:pt x="825500" y="1981521"/>
                  </a:lnTo>
                  <a:lnTo>
                    <a:pt x="876300" y="2025971"/>
                  </a:lnTo>
                  <a:lnTo>
                    <a:pt x="933450" y="2057721"/>
                  </a:lnTo>
                  <a:lnTo>
                    <a:pt x="927100" y="2108521"/>
                  </a:lnTo>
                  <a:lnTo>
                    <a:pt x="825500" y="2102171"/>
                  </a:lnTo>
                  <a:lnTo>
                    <a:pt x="800100" y="2172021"/>
                  </a:lnTo>
                  <a:lnTo>
                    <a:pt x="717550" y="2127571"/>
                  </a:lnTo>
                  <a:lnTo>
                    <a:pt x="666750" y="1962471"/>
                  </a:lnTo>
                  <a:lnTo>
                    <a:pt x="558800" y="1854521"/>
                  </a:lnTo>
                  <a:lnTo>
                    <a:pt x="508000" y="1873571"/>
                  </a:lnTo>
                  <a:lnTo>
                    <a:pt x="450850" y="1752921"/>
                  </a:lnTo>
                  <a:lnTo>
                    <a:pt x="336550" y="1676721"/>
                  </a:lnTo>
                  <a:lnTo>
                    <a:pt x="247650" y="1638621"/>
                  </a:lnTo>
                  <a:lnTo>
                    <a:pt x="165100" y="1733871"/>
                  </a:lnTo>
                  <a:lnTo>
                    <a:pt x="171450" y="1549721"/>
                  </a:lnTo>
                  <a:lnTo>
                    <a:pt x="209550" y="1511621"/>
                  </a:lnTo>
                  <a:lnTo>
                    <a:pt x="171450" y="1460821"/>
                  </a:lnTo>
                  <a:lnTo>
                    <a:pt x="95250" y="1467171"/>
                  </a:lnTo>
                  <a:lnTo>
                    <a:pt x="107950" y="1517971"/>
                  </a:lnTo>
                  <a:lnTo>
                    <a:pt x="57150" y="1530671"/>
                  </a:lnTo>
                  <a:lnTo>
                    <a:pt x="0" y="1473521"/>
                  </a:lnTo>
                  <a:lnTo>
                    <a:pt x="82550" y="1225871"/>
                  </a:lnTo>
                  <a:lnTo>
                    <a:pt x="165100" y="1213171"/>
                  </a:lnTo>
                  <a:lnTo>
                    <a:pt x="171450" y="1124271"/>
                  </a:lnTo>
                  <a:lnTo>
                    <a:pt x="127000" y="1111571"/>
                  </a:lnTo>
                  <a:lnTo>
                    <a:pt x="88900" y="1111571"/>
                  </a:lnTo>
                  <a:lnTo>
                    <a:pt x="88900" y="1054421"/>
                  </a:lnTo>
                  <a:lnTo>
                    <a:pt x="171450" y="1054421"/>
                  </a:lnTo>
                  <a:lnTo>
                    <a:pt x="139700" y="959171"/>
                  </a:lnTo>
                  <a:lnTo>
                    <a:pt x="228600" y="952821"/>
                  </a:lnTo>
                  <a:lnTo>
                    <a:pt x="304800" y="971871"/>
                  </a:lnTo>
                  <a:lnTo>
                    <a:pt x="342900" y="933771"/>
                  </a:lnTo>
                  <a:lnTo>
                    <a:pt x="260350" y="857571"/>
                  </a:lnTo>
                  <a:lnTo>
                    <a:pt x="285750" y="806771"/>
                  </a:lnTo>
                  <a:lnTo>
                    <a:pt x="234950" y="749621"/>
                  </a:lnTo>
                  <a:lnTo>
                    <a:pt x="317500" y="775021"/>
                  </a:lnTo>
                  <a:lnTo>
                    <a:pt x="342900" y="692471"/>
                  </a:lnTo>
                  <a:lnTo>
                    <a:pt x="209550" y="648021"/>
                  </a:lnTo>
                  <a:lnTo>
                    <a:pt x="184150" y="559121"/>
                  </a:lnTo>
                  <a:lnTo>
                    <a:pt x="88900" y="527371"/>
                  </a:lnTo>
                  <a:lnTo>
                    <a:pt x="63500" y="394021"/>
                  </a:lnTo>
                  <a:lnTo>
                    <a:pt x="58425" y="384652"/>
                  </a:lnTo>
                  <a:lnTo>
                    <a:pt x="359768" y="215900"/>
                  </a:lnTo>
                  <a:lnTo>
                    <a:pt x="455018" y="69850"/>
                  </a:lnTo>
                  <a:lnTo>
                    <a:pt x="543918" y="69850"/>
                  </a:lnTo>
                  <a:lnTo>
                    <a:pt x="569318" y="114300"/>
                  </a:lnTo>
                  <a:lnTo>
                    <a:pt x="702668" y="107950"/>
                  </a:lnTo>
                  <a:lnTo>
                    <a:pt x="772518" y="0"/>
                  </a:lnTo>
                  <a:close/>
                </a:path>
              </a:pathLst>
            </a:custGeom>
            <a:solidFill>
              <a:schemeClr val="accent2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7" name="_Map_Nordrhein Westfalen">
              <a:extLst>
                <a:ext uri="{FF2B5EF4-FFF2-40B4-BE49-F238E27FC236}">
                  <a16:creationId xmlns:a16="http://schemas.microsoft.com/office/drawing/2014/main" id="{B21C5AA9-80F2-4C6F-AF82-B04E3A517C30}"/>
                </a:ext>
              </a:extLst>
            </p:cNvPr>
            <p:cNvSpPr/>
            <p:nvPr>
              <p:custDataLst>
                <p:tags r:id="rId15"/>
              </p:custDataLst>
            </p:nvPr>
          </p:nvSpPr>
          <p:spPr bwMode="gray">
            <a:xfrm>
              <a:off x="5567317" y="3059327"/>
              <a:ext cx="1410880" cy="1374760"/>
            </a:xfrm>
            <a:custGeom>
              <a:avLst/>
              <a:gdLst>
                <a:gd name="connsiteX0" fmla="*/ 1077236 w 3482053"/>
                <a:gd name="connsiteY0" fmla="*/ 146239 h 3392907"/>
                <a:gd name="connsiteX1" fmla="*/ 1082435 w 3482053"/>
                <a:gd name="connsiteY1" fmla="*/ 147019 h 3392907"/>
                <a:gd name="connsiteX2" fmla="*/ 1110303 w 3482053"/>
                <a:gd name="connsiteY2" fmla="*/ 356028 h 3392907"/>
                <a:gd name="connsiteX3" fmla="*/ 1082434 w 3482053"/>
                <a:gd name="connsiteY3" fmla="*/ 147019 h 3392907"/>
                <a:gd name="connsiteX4" fmla="*/ 2707034 w 3482053"/>
                <a:gd name="connsiteY4" fmla="*/ 0 h 3392907"/>
                <a:gd name="connsiteX5" fmla="*/ 2745134 w 3482053"/>
                <a:gd name="connsiteY5" fmla="*/ 196850 h 3392907"/>
                <a:gd name="connsiteX6" fmla="*/ 2941984 w 3482053"/>
                <a:gd name="connsiteY6" fmla="*/ 203200 h 3392907"/>
                <a:gd name="connsiteX7" fmla="*/ 3062634 w 3482053"/>
                <a:gd name="connsiteY7" fmla="*/ 50800 h 3392907"/>
                <a:gd name="connsiteX8" fmla="*/ 3119784 w 3482053"/>
                <a:gd name="connsiteY8" fmla="*/ 57150 h 3392907"/>
                <a:gd name="connsiteX9" fmla="*/ 3100734 w 3482053"/>
                <a:gd name="connsiteY9" fmla="*/ 127001 h 3392907"/>
                <a:gd name="connsiteX10" fmla="*/ 3132484 w 3482053"/>
                <a:gd name="connsiteY10" fmla="*/ 177800 h 3392907"/>
                <a:gd name="connsiteX11" fmla="*/ 3024534 w 3482053"/>
                <a:gd name="connsiteY11" fmla="*/ 311150 h 3392907"/>
                <a:gd name="connsiteX12" fmla="*/ 2973734 w 3482053"/>
                <a:gd name="connsiteY12" fmla="*/ 400050 h 3392907"/>
                <a:gd name="connsiteX13" fmla="*/ 3068984 w 3482053"/>
                <a:gd name="connsiteY13" fmla="*/ 457200 h 3392907"/>
                <a:gd name="connsiteX14" fmla="*/ 3068984 w 3482053"/>
                <a:gd name="connsiteY14" fmla="*/ 546100 h 3392907"/>
                <a:gd name="connsiteX15" fmla="*/ 2999134 w 3482053"/>
                <a:gd name="connsiteY15" fmla="*/ 546100 h 3392907"/>
                <a:gd name="connsiteX16" fmla="*/ 3018184 w 3482053"/>
                <a:gd name="connsiteY16" fmla="*/ 603250 h 3392907"/>
                <a:gd name="connsiteX17" fmla="*/ 3145184 w 3482053"/>
                <a:gd name="connsiteY17" fmla="*/ 603250 h 3392907"/>
                <a:gd name="connsiteX18" fmla="*/ 3208684 w 3482053"/>
                <a:gd name="connsiteY18" fmla="*/ 869950 h 3392907"/>
                <a:gd name="connsiteX19" fmla="*/ 3278534 w 3482053"/>
                <a:gd name="connsiteY19" fmla="*/ 869950 h 3392907"/>
                <a:gd name="connsiteX20" fmla="*/ 3278534 w 3482053"/>
                <a:gd name="connsiteY20" fmla="*/ 908050 h 3392907"/>
                <a:gd name="connsiteX21" fmla="*/ 3329334 w 3482053"/>
                <a:gd name="connsiteY21" fmla="*/ 1009650 h 3392907"/>
                <a:gd name="connsiteX22" fmla="*/ 3437284 w 3482053"/>
                <a:gd name="connsiteY22" fmla="*/ 1035050 h 3392907"/>
                <a:gd name="connsiteX23" fmla="*/ 3380134 w 3482053"/>
                <a:gd name="connsiteY23" fmla="*/ 1200151 h 3392907"/>
                <a:gd name="connsiteX24" fmla="*/ 3380134 w 3482053"/>
                <a:gd name="connsiteY24" fmla="*/ 1358900 h 3392907"/>
                <a:gd name="connsiteX25" fmla="*/ 3482053 w 3482053"/>
                <a:gd name="connsiteY25" fmla="*/ 1370548 h 3392907"/>
                <a:gd name="connsiteX26" fmla="*/ 3450896 w 3482053"/>
                <a:gd name="connsiteY26" fmla="*/ 1394781 h 3392907"/>
                <a:gd name="connsiteX27" fmla="*/ 3359456 w 3482053"/>
                <a:gd name="connsiteY27" fmla="*/ 1402401 h 3392907"/>
                <a:gd name="connsiteX28" fmla="*/ 3397556 w 3482053"/>
                <a:gd name="connsiteY28" fmla="*/ 1432881 h 3392907"/>
                <a:gd name="connsiteX29" fmla="*/ 3176576 w 3482053"/>
                <a:gd name="connsiteY29" fmla="*/ 1653861 h 3392907"/>
                <a:gd name="connsiteX30" fmla="*/ 3107996 w 3482053"/>
                <a:gd name="connsiteY30" fmla="*/ 1669101 h 3392907"/>
                <a:gd name="connsiteX31" fmla="*/ 3092756 w 3482053"/>
                <a:gd name="connsiteY31" fmla="*/ 1592901 h 3392907"/>
                <a:gd name="connsiteX32" fmla="*/ 3047036 w 3482053"/>
                <a:gd name="connsiteY32" fmla="*/ 1562421 h 3392907"/>
                <a:gd name="connsiteX33" fmla="*/ 2947976 w 3482053"/>
                <a:gd name="connsiteY33" fmla="*/ 1615761 h 3392907"/>
                <a:gd name="connsiteX34" fmla="*/ 2970836 w 3482053"/>
                <a:gd name="connsiteY34" fmla="*/ 1691961 h 3392907"/>
                <a:gd name="connsiteX35" fmla="*/ 2978456 w 3482053"/>
                <a:gd name="connsiteY35" fmla="*/ 1768161 h 3392907"/>
                <a:gd name="connsiteX36" fmla="*/ 2749856 w 3482053"/>
                <a:gd name="connsiteY36" fmla="*/ 1768161 h 3392907"/>
                <a:gd name="connsiteX37" fmla="*/ 2589836 w 3482053"/>
                <a:gd name="connsiteY37" fmla="*/ 1935801 h 3392907"/>
                <a:gd name="connsiteX38" fmla="*/ 2666036 w 3482053"/>
                <a:gd name="connsiteY38" fmla="*/ 1989141 h 3392907"/>
                <a:gd name="connsiteX39" fmla="*/ 2765096 w 3482053"/>
                <a:gd name="connsiteY39" fmla="*/ 1928181 h 3392907"/>
                <a:gd name="connsiteX40" fmla="*/ 2818436 w 3482053"/>
                <a:gd name="connsiteY40" fmla="*/ 2027241 h 3392907"/>
                <a:gd name="connsiteX41" fmla="*/ 2749856 w 3482053"/>
                <a:gd name="connsiteY41" fmla="*/ 2217741 h 3392907"/>
                <a:gd name="connsiteX42" fmla="*/ 2566976 w 3482053"/>
                <a:gd name="connsiteY42" fmla="*/ 2217741 h 3392907"/>
                <a:gd name="connsiteX43" fmla="*/ 2566976 w 3482053"/>
                <a:gd name="connsiteY43" fmla="*/ 2293941 h 3392907"/>
                <a:gd name="connsiteX44" fmla="*/ 2498396 w 3482053"/>
                <a:gd name="connsiteY44" fmla="*/ 2484441 h 3392907"/>
                <a:gd name="connsiteX45" fmla="*/ 2437436 w 3482053"/>
                <a:gd name="connsiteY45" fmla="*/ 2568261 h 3392907"/>
                <a:gd name="connsiteX46" fmla="*/ 2338376 w 3482053"/>
                <a:gd name="connsiteY46" fmla="*/ 2514921 h 3392907"/>
                <a:gd name="connsiteX47" fmla="*/ 2201216 w 3482053"/>
                <a:gd name="connsiteY47" fmla="*/ 2659701 h 3392907"/>
                <a:gd name="connsiteX48" fmla="*/ 2239316 w 3482053"/>
                <a:gd name="connsiteY48" fmla="*/ 2796861 h 3392907"/>
                <a:gd name="connsiteX49" fmla="*/ 2132636 w 3482053"/>
                <a:gd name="connsiteY49" fmla="*/ 2812101 h 3392907"/>
                <a:gd name="connsiteX50" fmla="*/ 2033576 w 3482053"/>
                <a:gd name="connsiteY50" fmla="*/ 2690181 h 3392907"/>
                <a:gd name="connsiteX51" fmla="*/ 2041196 w 3482053"/>
                <a:gd name="connsiteY51" fmla="*/ 2606361 h 3392907"/>
                <a:gd name="connsiteX52" fmla="*/ 1980236 w 3482053"/>
                <a:gd name="connsiteY52" fmla="*/ 2568261 h 3392907"/>
                <a:gd name="connsiteX53" fmla="*/ 1896416 w 3482053"/>
                <a:gd name="connsiteY53" fmla="*/ 2476821 h 3392907"/>
                <a:gd name="connsiteX54" fmla="*/ 1896416 w 3482053"/>
                <a:gd name="connsiteY54" fmla="*/ 2438721 h 3392907"/>
                <a:gd name="connsiteX55" fmla="*/ 1827836 w 3482053"/>
                <a:gd name="connsiteY55" fmla="*/ 2461581 h 3392907"/>
                <a:gd name="connsiteX56" fmla="*/ 1858316 w 3482053"/>
                <a:gd name="connsiteY56" fmla="*/ 2568261 h 3392907"/>
                <a:gd name="connsiteX57" fmla="*/ 1690676 w 3482053"/>
                <a:gd name="connsiteY57" fmla="*/ 2743521 h 3392907"/>
                <a:gd name="connsiteX58" fmla="*/ 1469696 w 3482053"/>
                <a:gd name="connsiteY58" fmla="*/ 2789241 h 3392907"/>
                <a:gd name="connsiteX59" fmla="*/ 1469696 w 3482053"/>
                <a:gd name="connsiteY59" fmla="*/ 2895921 h 3392907"/>
                <a:gd name="connsiteX60" fmla="*/ 1332536 w 3482053"/>
                <a:gd name="connsiteY60" fmla="*/ 2911161 h 3392907"/>
                <a:gd name="connsiteX61" fmla="*/ 1324916 w 3482053"/>
                <a:gd name="connsiteY61" fmla="*/ 2857821 h 3392907"/>
                <a:gd name="connsiteX62" fmla="*/ 1180136 w 3482053"/>
                <a:gd name="connsiteY62" fmla="*/ 2994981 h 3392907"/>
                <a:gd name="connsiteX63" fmla="*/ 1004876 w 3482053"/>
                <a:gd name="connsiteY63" fmla="*/ 3040701 h 3392907"/>
                <a:gd name="connsiteX64" fmla="*/ 1027736 w 3482053"/>
                <a:gd name="connsiteY64" fmla="*/ 3155001 h 3392907"/>
                <a:gd name="connsiteX65" fmla="*/ 959156 w 3482053"/>
                <a:gd name="connsiteY65" fmla="*/ 3155001 h 3392907"/>
                <a:gd name="connsiteX66" fmla="*/ 936296 w 3482053"/>
                <a:gd name="connsiteY66" fmla="*/ 3109281 h 3392907"/>
                <a:gd name="connsiteX67" fmla="*/ 890576 w 3482053"/>
                <a:gd name="connsiteY67" fmla="*/ 3170241 h 3392907"/>
                <a:gd name="connsiteX68" fmla="*/ 921056 w 3482053"/>
                <a:gd name="connsiteY68" fmla="*/ 3330261 h 3392907"/>
                <a:gd name="connsiteX69" fmla="*/ 852476 w 3482053"/>
                <a:gd name="connsiteY69" fmla="*/ 3345501 h 3392907"/>
                <a:gd name="connsiteX70" fmla="*/ 623876 w 3482053"/>
                <a:gd name="connsiteY70" fmla="*/ 3337881 h 3392907"/>
                <a:gd name="connsiteX71" fmla="*/ 474903 w 3482053"/>
                <a:gd name="connsiteY71" fmla="*/ 3392907 h 3392907"/>
                <a:gd name="connsiteX72" fmla="*/ 462780 w 3482053"/>
                <a:gd name="connsiteY72" fmla="*/ 3308045 h 3392907"/>
                <a:gd name="connsiteX73" fmla="*/ 462780 w 3482053"/>
                <a:gd name="connsiteY73" fmla="*/ 3174701 h 3392907"/>
                <a:gd name="connsiteX74" fmla="*/ 337280 w 3482053"/>
                <a:gd name="connsiteY74" fmla="*/ 3198233 h 3392907"/>
                <a:gd name="connsiteX75" fmla="*/ 250999 w 3482053"/>
                <a:gd name="connsiteY75" fmla="*/ 3111952 h 3392907"/>
                <a:gd name="connsiteX76" fmla="*/ 368655 w 3482053"/>
                <a:gd name="connsiteY76" fmla="*/ 2970764 h 3392907"/>
                <a:gd name="connsiteX77" fmla="*/ 266687 w 3482053"/>
                <a:gd name="connsiteY77" fmla="*/ 2970764 h 3392907"/>
                <a:gd name="connsiteX78" fmla="*/ 227468 w 3482053"/>
                <a:gd name="connsiteY78" fmla="*/ 2845264 h 3392907"/>
                <a:gd name="connsiteX79" fmla="*/ 180406 w 3482053"/>
                <a:gd name="connsiteY79" fmla="*/ 2853108 h 3392907"/>
                <a:gd name="connsiteX80" fmla="*/ 86281 w 3482053"/>
                <a:gd name="connsiteY80" fmla="*/ 2766827 h 3392907"/>
                <a:gd name="connsiteX81" fmla="*/ 78437 w 3482053"/>
                <a:gd name="connsiteY81" fmla="*/ 2769441 h 3392907"/>
                <a:gd name="connsiteX82" fmla="*/ 78437 w 3482053"/>
                <a:gd name="connsiteY82" fmla="*/ 2688390 h 3392907"/>
                <a:gd name="connsiteX83" fmla="*/ 203937 w 3482053"/>
                <a:gd name="connsiteY83" fmla="*/ 2578577 h 3392907"/>
                <a:gd name="connsiteX84" fmla="*/ 141187 w 3482053"/>
                <a:gd name="connsiteY84" fmla="*/ 2468765 h 3392907"/>
                <a:gd name="connsiteX85" fmla="*/ 47062 w 3482053"/>
                <a:gd name="connsiteY85" fmla="*/ 2437390 h 3392907"/>
                <a:gd name="connsiteX86" fmla="*/ 0 w 3482053"/>
                <a:gd name="connsiteY86" fmla="*/ 2358953 h 3392907"/>
                <a:gd name="connsiteX87" fmla="*/ 329437 w 3482053"/>
                <a:gd name="connsiteY87" fmla="*/ 2107953 h 3392907"/>
                <a:gd name="connsiteX88" fmla="*/ 141187 w 3482053"/>
                <a:gd name="connsiteY88" fmla="*/ 2123641 h 3392907"/>
                <a:gd name="connsiteX89" fmla="*/ 345124 w 3482053"/>
                <a:gd name="connsiteY89" fmla="*/ 1762829 h 3392907"/>
                <a:gd name="connsiteX90" fmla="*/ 219624 w 3482053"/>
                <a:gd name="connsiteY90" fmla="*/ 1449079 h 3392907"/>
                <a:gd name="connsiteX91" fmla="*/ 31375 w 3482053"/>
                <a:gd name="connsiteY91" fmla="*/ 1166704 h 3392907"/>
                <a:gd name="connsiteX92" fmla="*/ 188249 w 3482053"/>
                <a:gd name="connsiteY92" fmla="*/ 1009830 h 3392907"/>
                <a:gd name="connsiteX93" fmla="*/ 329437 w 3482053"/>
                <a:gd name="connsiteY93" fmla="*/ 1103955 h 3392907"/>
                <a:gd name="connsiteX94" fmla="*/ 486311 w 3482053"/>
                <a:gd name="connsiteY94" fmla="*/ 1072580 h 3392907"/>
                <a:gd name="connsiteX95" fmla="*/ 768685 w 3482053"/>
                <a:gd name="connsiteY95" fmla="*/ 1025517 h 3392907"/>
                <a:gd name="connsiteX96" fmla="*/ 878498 w 3482053"/>
                <a:gd name="connsiteY96" fmla="*/ 978455 h 3392907"/>
                <a:gd name="connsiteX97" fmla="*/ 894185 w 3482053"/>
                <a:gd name="connsiteY97" fmla="*/ 852955 h 3392907"/>
                <a:gd name="connsiteX98" fmla="*/ 784373 w 3482053"/>
                <a:gd name="connsiteY98" fmla="*/ 727455 h 3392907"/>
                <a:gd name="connsiteX99" fmla="*/ 1129497 w 3482053"/>
                <a:gd name="connsiteY99" fmla="*/ 523518 h 3392907"/>
                <a:gd name="connsiteX100" fmla="*/ 1121430 w 3482053"/>
                <a:gd name="connsiteY100" fmla="*/ 450910 h 3392907"/>
                <a:gd name="connsiteX101" fmla="*/ 1132234 w 3482053"/>
                <a:gd name="connsiteY101" fmla="*/ 457200 h 3392907"/>
                <a:gd name="connsiteX102" fmla="*/ 1411634 w 3482053"/>
                <a:gd name="connsiteY102" fmla="*/ 387350 h 3392907"/>
                <a:gd name="connsiteX103" fmla="*/ 1665634 w 3482053"/>
                <a:gd name="connsiteY103" fmla="*/ 234950 h 3392907"/>
                <a:gd name="connsiteX104" fmla="*/ 1652934 w 3482053"/>
                <a:gd name="connsiteY104" fmla="*/ 152400 h 3392907"/>
                <a:gd name="connsiteX105" fmla="*/ 1684684 w 3482053"/>
                <a:gd name="connsiteY105" fmla="*/ 101601 h 3392907"/>
                <a:gd name="connsiteX106" fmla="*/ 1748184 w 3482053"/>
                <a:gd name="connsiteY106" fmla="*/ 101601 h 3392907"/>
                <a:gd name="connsiteX107" fmla="*/ 1786284 w 3482053"/>
                <a:gd name="connsiteY107" fmla="*/ 196850 h 3392907"/>
                <a:gd name="connsiteX108" fmla="*/ 1938684 w 3482053"/>
                <a:gd name="connsiteY108" fmla="*/ 234950 h 3392907"/>
                <a:gd name="connsiteX109" fmla="*/ 2033934 w 3482053"/>
                <a:gd name="connsiteY109" fmla="*/ 330200 h 3392907"/>
                <a:gd name="connsiteX110" fmla="*/ 1983134 w 3482053"/>
                <a:gd name="connsiteY110" fmla="*/ 387350 h 3392907"/>
                <a:gd name="connsiteX111" fmla="*/ 1964084 w 3482053"/>
                <a:gd name="connsiteY111" fmla="*/ 527050 h 3392907"/>
                <a:gd name="connsiteX112" fmla="*/ 2072034 w 3482053"/>
                <a:gd name="connsiteY112" fmla="*/ 571500 h 3392907"/>
                <a:gd name="connsiteX113" fmla="*/ 2059334 w 3482053"/>
                <a:gd name="connsiteY113" fmla="*/ 660400 h 3392907"/>
                <a:gd name="connsiteX114" fmla="*/ 1951384 w 3482053"/>
                <a:gd name="connsiteY114" fmla="*/ 679450 h 3392907"/>
                <a:gd name="connsiteX115" fmla="*/ 2008534 w 3482053"/>
                <a:gd name="connsiteY115" fmla="*/ 768350 h 3392907"/>
                <a:gd name="connsiteX116" fmla="*/ 2122834 w 3482053"/>
                <a:gd name="connsiteY116" fmla="*/ 704850 h 3392907"/>
                <a:gd name="connsiteX117" fmla="*/ 2167284 w 3482053"/>
                <a:gd name="connsiteY117" fmla="*/ 730250 h 3392907"/>
                <a:gd name="connsiteX118" fmla="*/ 2300634 w 3482053"/>
                <a:gd name="connsiteY118" fmla="*/ 603250 h 3392907"/>
                <a:gd name="connsiteX119" fmla="*/ 2395884 w 3482053"/>
                <a:gd name="connsiteY119" fmla="*/ 654050 h 3392907"/>
                <a:gd name="connsiteX120" fmla="*/ 2548284 w 3482053"/>
                <a:gd name="connsiteY120" fmla="*/ 527050 h 3392907"/>
                <a:gd name="connsiteX121" fmla="*/ 2459384 w 3482053"/>
                <a:gd name="connsiteY121" fmla="*/ 520700 h 3392907"/>
                <a:gd name="connsiteX122" fmla="*/ 2491134 w 3482053"/>
                <a:gd name="connsiteY122" fmla="*/ 273050 h 3392907"/>
                <a:gd name="connsiteX123" fmla="*/ 2376834 w 3482053"/>
                <a:gd name="connsiteY123" fmla="*/ 203200 h 3392907"/>
                <a:gd name="connsiteX124" fmla="*/ 2345084 w 3482053"/>
                <a:gd name="connsiteY124" fmla="*/ 127001 h 3392907"/>
                <a:gd name="connsiteX125" fmla="*/ 2472084 w 3482053"/>
                <a:gd name="connsiteY125" fmla="*/ 120650 h 3392907"/>
                <a:gd name="connsiteX126" fmla="*/ 2541934 w 3482053"/>
                <a:gd name="connsiteY126" fmla="*/ 50800 h 3392907"/>
                <a:gd name="connsiteX127" fmla="*/ 2618134 w 3482053"/>
                <a:gd name="connsiteY127" fmla="*/ 44450 h 33929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</a:cxnLst>
              <a:rect l="l" t="t" r="r" b="b"/>
              <a:pathLst>
                <a:path w="3482053" h="3392907">
                  <a:moveTo>
                    <a:pt x="1077236" y="146239"/>
                  </a:moveTo>
                  <a:lnTo>
                    <a:pt x="1082435" y="147019"/>
                  </a:lnTo>
                  <a:lnTo>
                    <a:pt x="1110303" y="356028"/>
                  </a:lnTo>
                  <a:lnTo>
                    <a:pt x="1082434" y="147019"/>
                  </a:lnTo>
                  <a:close/>
                  <a:moveTo>
                    <a:pt x="2707034" y="0"/>
                  </a:moveTo>
                  <a:lnTo>
                    <a:pt x="2745134" y="196850"/>
                  </a:lnTo>
                  <a:lnTo>
                    <a:pt x="2941984" y="203200"/>
                  </a:lnTo>
                  <a:lnTo>
                    <a:pt x="3062634" y="50800"/>
                  </a:lnTo>
                  <a:lnTo>
                    <a:pt x="3119784" y="57150"/>
                  </a:lnTo>
                  <a:lnTo>
                    <a:pt x="3100734" y="127001"/>
                  </a:lnTo>
                  <a:lnTo>
                    <a:pt x="3132484" y="177800"/>
                  </a:lnTo>
                  <a:lnTo>
                    <a:pt x="3024534" y="311150"/>
                  </a:lnTo>
                  <a:lnTo>
                    <a:pt x="2973734" y="400050"/>
                  </a:lnTo>
                  <a:lnTo>
                    <a:pt x="3068984" y="457200"/>
                  </a:lnTo>
                  <a:lnTo>
                    <a:pt x="3068984" y="546100"/>
                  </a:lnTo>
                  <a:lnTo>
                    <a:pt x="2999134" y="546100"/>
                  </a:lnTo>
                  <a:lnTo>
                    <a:pt x="3018184" y="603250"/>
                  </a:lnTo>
                  <a:lnTo>
                    <a:pt x="3145184" y="603250"/>
                  </a:lnTo>
                  <a:lnTo>
                    <a:pt x="3208684" y="869950"/>
                  </a:lnTo>
                  <a:lnTo>
                    <a:pt x="3278534" y="869950"/>
                  </a:lnTo>
                  <a:lnTo>
                    <a:pt x="3278534" y="908050"/>
                  </a:lnTo>
                  <a:lnTo>
                    <a:pt x="3329334" y="1009650"/>
                  </a:lnTo>
                  <a:lnTo>
                    <a:pt x="3437284" y="1035050"/>
                  </a:lnTo>
                  <a:lnTo>
                    <a:pt x="3380134" y="1200151"/>
                  </a:lnTo>
                  <a:lnTo>
                    <a:pt x="3380134" y="1358900"/>
                  </a:lnTo>
                  <a:lnTo>
                    <a:pt x="3482053" y="1370548"/>
                  </a:lnTo>
                  <a:lnTo>
                    <a:pt x="3450896" y="1394781"/>
                  </a:lnTo>
                  <a:lnTo>
                    <a:pt x="3359456" y="1402401"/>
                  </a:lnTo>
                  <a:lnTo>
                    <a:pt x="3397556" y="1432881"/>
                  </a:lnTo>
                  <a:lnTo>
                    <a:pt x="3176576" y="1653861"/>
                  </a:lnTo>
                  <a:lnTo>
                    <a:pt x="3107996" y="1669101"/>
                  </a:lnTo>
                  <a:lnTo>
                    <a:pt x="3092756" y="1592901"/>
                  </a:lnTo>
                  <a:lnTo>
                    <a:pt x="3047036" y="1562421"/>
                  </a:lnTo>
                  <a:lnTo>
                    <a:pt x="2947976" y="1615761"/>
                  </a:lnTo>
                  <a:lnTo>
                    <a:pt x="2970836" y="1691961"/>
                  </a:lnTo>
                  <a:lnTo>
                    <a:pt x="2978456" y="1768161"/>
                  </a:lnTo>
                  <a:lnTo>
                    <a:pt x="2749856" y="1768161"/>
                  </a:lnTo>
                  <a:lnTo>
                    <a:pt x="2589836" y="1935801"/>
                  </a:lnTo>
                  <a:lnTo>
                    <a:pt x="2666036" y="1989141"/>
                  </a:lnTo>
                  <a:lnTo>
                    <a:pt x="2765096" y="1928181"/>
                  </a:lnTo>
                  <a:lnTo>
                    <a:pt x="2818436" y="2027241"/>
                  </a:lnTo>
                  <a:lnTo>
                    <a:pt x="2749856" y="2217741"/>
                  </a:lnTo>
                  <a:lnTo>
                    <a:pt x="2566976" y="2217741"/>
                  </a:lnTo>
                  <a:lnTo>
                    <a:pt x="2566976" y="2293941"/>
                  </a:lnTo>
                  <a:lnTo>
                    <a:pt x="2498396" y="2484441"/>
                  </a:lnTo>
                  <a:lnTo>
                    <a:pt x="2437436" y="2568261"/>
                  </a:lnTo>
                  <a:lnTo>
                    <a:pt x="2338376" y="2514921"/>
                  </a:lnTo>
                  <a:lnTo>
                    <a:pt x="2201216" y="2659701"/>
                  </a:lnTo>
                  <a:lnTo>
                    <a:pt x="2239316" y="2796861"/>
                  </a:lnTo>
                  <a:lnTo>
                    <a:pt x="2132636" y="2812101"/>
                  </a:lnTo>
                  <a:lnTo>
                    <a:pt x="2033576" y="2690181"/>
                  </a:lnTo>
                  <a:lnTo>
                    <a:pt x="2041196" y="2606361"/>
                  </a:lnTo>
                  <a:lnTo>
                    <a:pt x="1980236" y="2568261"/>
                  </a:lnTo>
                  <a:lnTo>
                    <a:pt x="1896416" y="2476821"/>
                  </a:lnTo>
                  <a:lnTo>
                    <a:pt x="1896416" y="2438721"/>
                  </a:lnTo>
                  <a:lnTo>
                    <a:pt x="1827836" y="2461581"/>
                  </a:lnTo>
                  <a:lnTo>
                    <a:pt x="1858316" y="2568261"/>
                  </a:lnTo>
                  <a:lnTo>
                    <a:pt x="1690676" y="2743521"/>
                  </a:lnTo>
                  <a:lnTo>
                    <a:pt x="1469696" y="2789241"/>
                  </a:lnTo>
                  <a:lnTo>
                    <a:pt x="1469696" y="2895921"/>
                  </a:lnTo>
                  <a:lnTo>
                    <a:pt x="1332536" y="2911161"/>
                  </a:lnTo>
                  <a:lnTo>
                    <a:pt x="1324916" y="2857821"/>
                  </a:lnTo>
                  <a:lnTo>
                    <a:pt x="1180136" y="2994981"/>
                  </a:lnTo>
                  <a:lnTo>
                    <a:pt x="1004876" y="3040701"/>
                  </a:lnTo>
                  <a:lnTo>
                    <a:pt x="1027736" y="3155001"/>
                  </a:lnTo>
                  <a:lnTo>
                    <a:pt x="959156" y="3155001"/>
                  </a:lnTo>
                  <a:lnTo>
                    <a:pt x="936296" y="3109281"/>
                  </a:lnTo>
                  <a:lnTo>
                    <a:pt x="890576" y="3170241"/>
                  </a:lnTo>
                  <a:lnTo>
                    <a:pt x="921056" y="3330261"/>
                  </a:lnTo>
                  <a:lnTo>
                    <a:pt x="852476" y="3345501"/>
                  </a:lnTo>
                  <a:lnTo>
                    <a:pt x="623876" y="3337881"/>
                  </a:lnTo>
                  <a:lnTo>
                    <a:pt x="474903" y="3392907"/>
                  </a:lnTo>
                  <a:lnTo>
                    <a:pt x="462780" y="3308045"/>
                  </a:lnTo>
                  <a:lnTo>
                    <a:pt x="462780" y="3174701"/>
                  </a:lnTo>
                  <a:lnTo>
                    <a:pt x="337280" y="3198233"/>
                  </a:lnTo>
                  <a:lnTo>
                    <a:pt x="250999" y="3111952"/>
                  </a:lnTo>
                  <a:lnTo>
                    <a:pt x="368655" y="2970764"/>
                  </a:lnTo>
                  <a:lnTo>
                    <a:pt x="266687" y="2970764"/>
                  </a:lnTo>
                  <a:lnTo>
                    <a:pt x="227468" y="2845264"/>
                  </a:lnTo>
                  <a:lnTo>
                    <a:pt x="180406" y="2853108"/>
                  </a:lnTo>
                  <a:lnTo>
                    <a:pt x="86281" y="2766827"/>
                  </a:lnTo>
                  <a:lnTo>
                    <a:pt x="78437" y="2769441"/>
                  </a:lnTo>
                  <a:lnTo>
                    <a:pt x="78437" y="2688390"/>
                  </a:lnTo>
                  <a:lnTo>
                    <a:pt x="203937" y="2578577"/>
                  </a:lnTo>
                  <a:lnTo>
                    <a:pt x="141187" y="2468765"/>
                  </a:lnTo>
                  <a:lnTo>
                    <a:pt x="47062" y="2437390"/>
                  </a:lnTo>
                  <a:lnTo>
                    <a:pt x="0" y="2358953"/>
                  </a:lnTo>
                  <a:lnTo>
                    <a:pt x="329437" y="2107953"/>
                  </a:lnTo>
                  <a:lnTo>
                    <a:pt x="141187" y="2123641"/>
                  </a:lnTo>
                  <a:lnTo>
                    <a:pt x="345124" y="1762829"/>
                  </a:lnTo>
                  <a:lnTo>
                    <a:pt x="219624" y="1449079"/>
                  </a:lnTo>
                  <a:lnTo>
                    <a:pt x="31375" y="1166704"/>
                  </a:lnTo>
                  <a:lnTo>
                    <a:pt x="188249" y="1009830"/>
                  </a:lnTo>
                  <a:lnTo>
                    <a:pt x="329437" y="1103955"/>
                  </a:lnTo>
                  <a:lnTo>
                    <a:pt x="486311" y="1072580"/>
                  </a:lnTo>
                  <a:lnTo>
                    <a:pt x="768685" y="1025517"/>
                  </a:lnTo>
                  <a:lnTo>
                    <a:pt x="878498" y="978455"/>
                  </a:lnTo>
                  <a:lnTo>
                    <a:pt x="894185" y="852955"/>
                  </a:lnTo>
                  <a:lnTo>
                    <a:pt x="784373" y="727455"/>
                  </a:lnTo>
                  <a:lnTo>
                    <a:pt x="1129497" y="523518"/>
                  </a:lnTo>
                  <a:lnTo>
                    <a:pt x="1121430" y="450910"/>
                  </a:lnTo>
                  <a:lnTo>
                    <a:pt x="1132234" y="457200"/>
                  </a:lnTo>
                  <a:lnTo>
                    <a:pt x="1411634" y="387350"/>
                  </a:lnTo>
                  <a:lnTo>
                    <a:pt x="1665634" y="234950"/>
                  </a:lnTo>
                  <a:lnTo>
                    <a:pt x="1652934" y="152400"/>
                  </a:lnTo>
                  <a:lnTo>
                    <a:pt x="1684684" y="101601"/>
                  </a:lnTo>
                  <a:lnTo>
                    <a:pt x="1748184" y="101601"/>
                  </a:lnTo>
                  <a:lnTo>
                    <a:pt x="1786284" y="196850"/>
                  </a:lnTo>
                  <a:lnTo>
                    <a:pt x="1938684" y="234950"/>
                  </a:lnTo>
                  <a:lnTo>
                    <a:pt x="2033934" y="330200"/>
                  </a:lnTo>
                  <a:lnTo>
                    <a:pt x="1983134" y="387350"/>
                  </a:lnTo>
                  <a:lnTo>
                    <a:pt x="1964084" y="527050"/>
                  </a:lnTo>
                  <a:lnTo>
                    <a:pt x="2072034" y="571500"/>
                  </a:lnTo>
                  <a:lnTo>
                    <a:pt x="2059334" y="660400"/>
                  </a:lnTo>
                  <a:lnTo>
                    <a:pt x="1951384" y="679450"/>
                  </a:lnTo>
                  <a:lnTo>
                    <a:pt x="2008534" y="768350"/>
                  </a:lnTo>
                  <a:lnTo>
                    <a:pt x="2122834" y="704850"/>
                  </a:lnTo>
                  <a:lnTo>
                    <a:pt x="2167284" y="730250"/>
                  </a:lnTo>
                  <a:lnTo>
                    <a:pt x="2300634" y="603250"/>
                  </a:lnTo>
                  <a:lnTo>
                    <a:pt x="2395884" y="654050"/>
                  </a:lnTo>
                  <a:lnTo>
                    <a:pt x="2548284" y="527050"/>
                  </a:lnTo>
                  <a:lnTo>
                    <a:pt x="2459384" y="520700"/>
                  </a:lnTo>
                  <a:lnTo>
                    <a:pt x="2491134" y="273050"/>
                  </a:lnTo>
                  <a:lnTo>
                    <a:pt x="2376834" y="203200"/>
                  </a:lnTo>
                  <a:lnTo>
                    <a:pt x="2345084" y="127001"/>
                  </a:lnTo>
                  <a:lnTo>
                    <a:pt x="2472084" y="120650"/>
                  </a:lnTo>
                  <a:lnTo>
                    <a:pt x="2541934" y="50800"/>
                  </a:lnTo>
                  <a:lnTo>
                    <a:pt x="2618134" y="44450"/>
                  </a:lnTo>
                  <a:close/>
                </a:path>
              </a:pathLst>
            </a:custGeom>
            <a:solidFill>
              <a:schemeClr val="accent2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8" name="_Map_Hessen">
              <a:extLst>
                <a:ext uri="{FF2B5EF4-FFF2-40B4-BE49-F238E27FC236}">
                  <a16:creationId xmlns:a16="http://schemas.microsoft.com/office/drawing/2014/main" id="{6747EDE7-146E-4873-8738-93E6ACBF7B4F}"/>
                </a:ext>
              </a:extLst>
            </p:cNvPr>
            <p:cNvSpPr/>
            <p:nvPr>
              <p:custDataLst>
                <p:tags r:id="rId16"/>
              </p:custDataLst>
            </p:nvPr>
          </p:nvSpPr>
          <p:spPr bwMode="gray">
            <a:xfrm>
              <a:off x="6348582" y="3614654"/>
              <a:ext cx="923682" cy="1325618"/>
            </a:xfrm>
            <a:custGeom>
              <a:avLst/>
              <a:gdLst>
                <a:gd name="connsiteX0" fmla="*/ 1553888 w 2279650"/>
                <a:gd name="connsiteY0" fmla="*/ 0 h 3271623"/>
                <a:gd name="connsiteX1" fmla="*/ 1674218 w 2279650"/>
                <a:gd name="connsiteY1" fmla="*/ 13752 h 3271623"/>
                <a:gd name="connsiteX2" fmla="*/ 1737718 w 2279650"/>
                <a:gd name="connsiteY2" fmla="*/ 96302 h 3271623"/>
                <a:gd name="connsiteX3" fmla="*/ 1667868 w 2279650"/>
                <a:gd name="connsiteY3" fmla="*/ 191552 h 3271623"/>
                <a:gd name="connsiteX4" fmla="*/ 1705968 w 2279650"/>
                <a:gd name="connsiteY4" fmla="*/ 350302 h 3271623"/>
                <a:gd name="connsiteX5" fmla="*/ 1623418 w 2279650"/>
                <a:gd name="connsiteY5" fmla="*/ 420152 h 3271623"/>
                <a:gd name="connsiteX6" fmla="*/ 1725018 w 2279650"/>
                <a:gd name="connsiteY6" fmla="*/ 521752 h 3271623"/>
                <a:gd name="connsiteX7" fmla="*/ 1794868 w 2279650"/>
                <a:gd name="connsiteY7" fmla="*/ 496352 h 3271623"/>
                <a:gd name="connsiteX8" fmla="*/ 1763118 w 2279650"/>
                <a:gd name="connsiteY8" fmla="*/ 426502 h 3271623"/>
                <a:gd name="connsiteX9" fmla="*/ 1871068 w 2279650"/>
                <a:gd name="connsiteY9" fmla="*/ 363002 h 3271623"/>
                <a:gd name="connsiteX10" fmla="*/ 1979018 w 2279650"/>
                <a:gd name="connsiteY10" fmla="*/ 407452 h 3271623"/>
                <a:gd name="connsiteX11" fmla="*/ 2250364 w 2279650"/>
                <a:gd name="connsiteY11" fmla="*/ 255498 h 3271623"/>
                <a:gd name="connsiteX12" fmla="*/ 2250365 w 2279650"/>
                <a:gd name="connsiteY12" fmla="*/ 255499 h 3271623"/>
                <a:gd name="connsiteX13" fmla="*/ 1995175 w 2279650"/>
                <a:gd name="connsiteY13" fmla="*/ 398405 h 3271623"/>
                <a:gd name="connsiteX14" fmla="*/ 2000250 w 2279650"/>
                <a:gd name="connsiteY14" fmla="*/ 407774 h 3271623"/>
                <a:gd name="connsiteX15" fmla="*/ 2025650 w 2279650"/>
                <a:gd name="connsiteY15" fmla="*/ 541124 h 3271623"/>
                <a:gd name="connsiteX16" fmla="*/ 2120900 w 2279650"/>
                <a:gd name="connsiteY16" fmla="*/ 572874 h 3271623"/>
                <a:gd name="connsiteX17" fmla="*/ 2146300 w 2279650"/>
                <a:gd name="connsiteY17" fmla="*/ 661774 h 3271623"/>
                <a:gd name="connsiteX18" fmla="*/ 2279650 w 2279650"/>
                <a:gd name="connsiteY18" fmla="*/ 706224 h 3271623"/>
                <a:gd name="connsiteX19" fmla="*/ 2254250 w 2279650"/>
                <a:gd name="connsiteY19" fmla="*/ 788774 h 3271623"/>
                <a:gd name="connsiteX20" fmla="*/ 2171700 w 2279650"/>
                <a:gd name="connsiteY20" fmla="*/ 763374 h 3271623"/>
                <a:gd name="connsiteX21" fmla="*/ 2222500 w 2279650"/>
                <a:gd name="connsiteY21" fmla="*/ 820524 h 3271623"/>
                <a:gd name="connsiteX22" fmla="*/ 2197100 w 2279650"/>
                <a:gd name="connsiteY22" fmla="*/ 871324 h 3271623"/>
                <a:gd name="connsiteX23" fmla="*/ 2279650 w 2279650"/>
                <a:gd name="connsiteY23" fmla="*/ 947524 h 3271623"/>
                <a:gd name="connsiteX24" fmla="*/ 2241550 w 2279650"/>
                <a:gd name="connsiteY24" fmla="*/ 985624 h 3271623"/>
                <a:gd name="connsiteX25" fmla="*/ 2165350 w 2279650"/>
                <a:gd name="connsiteY25" fmla="*/ 966574 h 3271623"/>
                <a:gd name="connsiteX26" fmla="*/ 2076450 w 2279650"/>
                <a:gd name="connsiteY26" fmla="*/ 972924 h 3271623"/>
                <a:gd name="connsiteX27" fmla="*/ 2108200 w 2279650"/>
                <a:gd name="connsiteY27" fmla="*/ 1068174 h 3271623"/>
                <a:gd name="connsiteX28" fmla="*/ 2025650 w 2279650"/>
                <a:gd name="connsiteY28" fmla="*/ 1068174 h 3271623"/>
                <a:gd name="connsiteX29" fmla="*/ 2025650 w 2279650"/>
                <a:gd name="connsiteY29" fmla="*/ 1125324 h 3271623"/>
                <a:gd name="connsiteX30" fmla="*/ 2063750 w 2279650"/>
                <a:gd name="connsiteY30" fmla="*/ 1125324 h 3271623"/>
                <a:gd name="connsiteX31" fmla="*/ 2108200 w 2279650"/>
                <a:gd name="connsiteY31" fmla="*/ 1138024 h 3271623"/>
                <a:gd name="connsiteX32" fmla="*/ 2101850 w 2279650"/>
                <a:gd name="connsiteY32" fmla="*/ 1226924 h 3271623"/>
                <a:gd name="connsiteX33" fmla="*/ 2019300 w 2279650"/>
                <a:gd name="connsiteY33" fmla="*/ 1239624 h 3271623"/>
                <a:gd name="connsiteX34" fmla="*/ 1936750 w 2279650"/>
                <a:gd name="connsiteY34" fmla="*/ 1487274 h 3271623"/>
                <a:gd name="connsiteX35" fmla="*/ 1993900 w 2279650"/>
                <a:gd name="connsiteY35" fmla="*/ 1544424 h 3271623"/>
                <a:gd name="connsiteX36" fmla="*/ 2044700 w 2279650"/>
                <a:gd name="connsiteY36" fmla="*/ 1531724 h 3271623"/>
                <a:gd name="connsiteX37" fmla="*/ 2032000 w 2279650"/>
                <a:gd name="connsiteY37" fmla="*/ 1480924 h 3271623"/>
                <a:gd name="connsiteX38" fmla="*/ 2108200 w 2279650"/>
                <a:gd name="connsiteY38" fmla="*/ 1474574 h 3271623"/>
                <a:gd name="connsiteX39" fmla="*/ 2146300 w 2279650"/>
                <a:gd name="connsiteY39" fmla="*/ 1525374 h 3271623"/>
                <a:gd name="connsiteX40" fmla="*/ 2108200 w 2279650"/>
                <a:gd name="connsiteY40" fmla="*/ 1563474 h 3271623"/>
                <a:gd name="connsiteX41" fmla="*/ 2103467 w 2279650"/>
                <a:gd name="connsiteY41" fmla="*/ 1700749 h 3271623"/>
                <a:gd name="connsiteX42" fmla="*/ 2076450 w 2279650"/>
                <a:gd name="connsiteY42" fmla="*/ 1741273 h 3271623"/>
                <a:gd name="connsiteX43" fmla="*/ 1936750 w 2279650"/>
                <a:gd name="connsiteY43" fmla="*/ 1836523 h 3271623"/>
                <a:gd name="connsiteX44" fmla="*/ 1841500 w 2279650"/>
                <a:gd name="connsiteY44" fmla="*/ 1785723 h 3271623"/>
                <a:gd name="connsiteX45" fmla="*/ 1803400 w 2279650"/>
                <a:gd name="connsiteY45" fmla="*/ 1988923 h 3271623"/>
                <a:gd name="connsiteX46" fmla="*/ 1720850 w 2279650"/>
                <a:gd name="connsiteY46" fmla="*/ 2090523 h 3271623"/>
                <a:gd name="connsiteX47" fmla="*/ 1612900 w 2279650"/>
                <a:gd name="connsiteY47" fmla="*/ 2077823 h 3271623"/>
                <a:gd name="connsiteX48" fmla="*/ 1612900 w 2279650"/>
                <a:gd name="connsiteY48" fmla="*/ 2185773 h 3271623"/>
                <a:gd name="connsiteX49" fmla="*/ 1619250 w 2279650"/>
                <a:gd name="connsiteY49" fmla="*/ 2274673 h 3271623"/>
                <a:gd name="connsiteX50" fmla="*/ 1492250 w 2279650"/>
                <a:gd name="connsiteY50" fmla="*/ 2274673 h 3271623"/>
                <a:gd name="connsiteX51" fmla="*/ 1492250 w 2279650"/>
                <a:gd name="connsiteY51" fmla="*/ 2223873 h 3271623"/>
                <a:gd name="connsiteX52" fmla="*/ 1339850 w 2279650"/>
                <a:gd name="connsiteY52" fmla="*/ 2223873 h 3271623"/>
                <a:gd name="connsiteX53" fmla="*/ 1250950 w 2279650"/>
                <a:gd name="connsiteY53" fmla="*/ 2281023 h 3271623"/>
                <a:gd name="connsiteX54" fmla="*/ 1231900 w 2279650"/>
                <a:gd name="connsiteY54" fmla="*/ 2230223 h 3271623"/>
                <a:gd name="connsiteX55" fmla="*/ 1123950 w 2279650"/>
                <a:gd name="connsiteY55" fmla="*/ 2249273 h 3271623"/>
                <a:gd name="connsiteX56" fmla="*/ 1123950 w 2279650"/>
                <a:gd name="connsiteY56" fmla="*/ 2350873 h 3271623"/>
                <a:gd name="connsiteX57" fmla="*/ 1155700 w 2279650"/>
                <a:gd name="connsiteY57" fmla="*/ 2427073 h 3271623"/>
                <a:gd name="connsiteX58" fmla="*/ 1149350 w 2279650"/>
                <a:gd name="connsiteY58" fmla="*/ 2642973 h 3271623"/>
                <a:gd name="connsiteX59" fmla="*/ 1206500 w 2279650"/>
                <a:gd name="connsiteY59" fmla="*/ 2668373 h 3271623"/>
                <a:gd name="connsiteX60" fmla="*/ 1270000 w 2279650"/>
                <a:gd name="connsiteY60" fmla="*/ 2769973 h 3271623"/>
                <a:gd name="connsiteX61" fmla="*/ 1193800 w 2279650"/>
                <a:gd name="connsiteY61" fmla="*/ 2909673 h 3271623"/>
                <a:gd name="connsiteX62" fmla="*/ 1193800 w 2279650"/>
                <a:gd name="connsiteY62" fmla="*/ 3036673 h 3271623"/>
                <a:gd name="connsiteX63" fmla="*/ 1244600 w 2279650"/>
                <a:gd name="connsiteY63" fmla="*/ 3119223 h 3271623"/>
                <a:gd name="connsiteX64" fmla="*/ 1098550 w 2279650"/>
                <a:gd name="connsiteY64" fmla="*/ 3138273 h 3271623"/>
                <a:gd name="connsiteX65" fmla="*/ 1079500 w 2279650"/>
                <a:gd name="connsiteY65" fmla="*/ 3208123 h 3271623"/>
                <a:gd name="connsiteX66" fmla="*/ 952500 w 2279650"/>
                <a:gd name="connsiteY66" fmla="*/ 3271623 h 3271623"/>
                <a:gd name="connsiteX67" fmla="*/ 990600 w 2279650"/>
                <a:gd name="connsiteY67" fmla="*/ 3138273 h 3271623"/>
                <a:gd name="connsiteX68" fmla="*/ 933450 w 2279650"/>
                <a:gd name="connsiteY68" fmla="*/ 3100173 h 3271623"/>
                <a:gd name="connsiteX69" fmla="*/ 857250 w 2279650"/>
                <a:gd name="connsiteY69" fmla="*/ 3112873 h 3271623"/>
                <a:gd name="connsiteX70" fmla="*/ 850900 w 2279650"/>
                <a:gd name="connsiteY70" fmla="*/ 2973173 h 3271623"/>
                <a:gd name="connsiteX71" fmla="*/ 755650 w 2279650"/>
                <a:gd name="connsiteY71" fmla="*/ 2985873 h 3271623"/>
                <a:gd name="connsiteX72" fmla="*/ 762000 w 2279650"/>
                <a:gd name="connsiteY72" fmla="*/ 3093823 h 3271623"/>
                <a:gd name="connsiteX73" fmla="*/ 698500 w 2279650"/>
                <a:gd name="connsiteY73" fmla="*/ 3112873 h 3271623"/>
                <a:gd name="connsiteX74" fmla="*/ 584200 w 2279650"/>
                <a:gd name="connsiteY74" fmla="*/ 3049373 h 3271623"/>
                <a:gd name="connsiteX75" fmla="*/ 514350 w 2279650"/>
                <a:gd name="connsiteY75" fmla="*/ 2871573 h 3271623"/>
                <a:gd name="connsiteX76" fmla="*/ 635000 w 2279650"/>
                <a:gd name="connsiteY76" fmla="*/ 2757273 h 3271623"/>
                <a:gd name="connsiteX77" fmla="*/ 577850 w 2279650"/>
                <a:gd name="connsiteY77" fmla="*/ 2744573 h 3271623"/>
                <a:gd name="connsiteX78" fmla="*/ 533400 w 2279650"/>
                <a:gd name="connsiteY78" fmla="*/ 2598523 h 3271623"/>
                <a:gd name="connsiteX79" fmla="*/ 431800 w 2279650"/>
                <a:gd name="connsiteY79" fmla="*/ 2388973 h 3271623"/>
                <a:gd name="connsiteX80" fmla="*/ 241300 w 2279650"/>
                <a:gd name="connsiteY80" fmla="*/ 2414373 h 3271623"/>
                <a:gd name="connsiteX81" fmla="*/ 101600 w 2279650"/>
                <a:gd name="connsiteY81" fmla="*/ 2452473 h 3271623"/>
                <a:gd name="connsiteX82" fmla="*/ 0 w 2279650"/>
                <a:gd name="connsiteY82" fmla="*/ 2325473 h 3271623"/>
                <a:gd name="connsiteX83" fmla="*/ 57150 w 2279650"/>
                <a:gd name="connsiteY83" fmla="*/ 2242923 h 3271623"/>
                <a:gd name="connsiteX84" fmla="*/ 127000 w 2279650"/>
                <a:gd name="connsiteY84" fmla="*/ 2255623 h 3271623"/>
                <a:gd name="connsiteX85" fmla="*/ 82550 w 2279650"/>
                <a:gd name="connsiteY85" fmla="*/ 2160373 h 3271623"/>
                <a:gd name="connsiteX86" fmla="*/ 171450 w 2279650"/>
                <a:gd name="connsiteY86" fmla="*/ 2096873 h 3271623"/>
                <a:gd name="connsiteX87" fmla="*/ 247650 w 2279650"/>
                <a:gd name="connsiteY87" fmla="*/ 2103223 h 3271623"/>
                <a:gd name="connsiteX88" fmla="*/ 222250 w 2279650"/>
                <a:gd name="connsiteY88" fmla="*/ 2027023 h 3271623"/>
                <a:gd name="connsiteX89" fmla="*/ 336550 w 2279650"/>
                <a:gd name="connsiteY89" fmla="*/ 2027023 h 3271623"/>
                <a:gd name="connsiteX90" fmla="*/ 279400 w 2279650"/>
                <a:gd name="connsiteY90" fmla="*/ 1944473 h 3271623"/>
                <a:gd name="connsiteX91" fmla="*/ 139700 w 2279650"/>
                <a:gd name="connsiteY91" fmla="*/ 1830173 h 3271623"/>
                <a:gd name="connsiteX92" fmla="*/ 184150 w 2279650"/>
                <a:gd name="connsiteY92" fmla="*/ 1690473 h 3271623"/>
                <a:gd name="connsiteX93" fmla="*/ 228600 w 2279650"/>
                <a:gd name="connsiteY93" fmla="*/ 1595223 h 3271623"/>
                <a:gd name="connsiteX94" fmla="*/ 311150 w 2279650"/>
                <a:gd name="connsiteY94" fmla="*/ 1646023 h 3271623"/>
                <a:gd name="connsiteX95" fmla="*/ 317500 w 2279650"/>
                <a:gd name="connsiteY95" fmla="*/ 1538073 h 3271623"/>
                <a:gd name="connsiteX96" fmla="*/ 304800 w 2279650"/>
                <a:gd name="connsiteY96" fmla="*/ 1436473 h 3271623"/>
                <a:gd name="connsiteX97" fmla="*/ 297150 w 2279650"/>
                <a:gd name="connsiteY97" fmla="*/ 1428313 h 3271623"/>
                <a:gd name="connsiteX98" fmla="*/ 311151 w 2279650"/>
                <a:gd name="connsiteY98" fmla="*/ 1426313 h 3271623"/>
                <a:gd name="connsiteX99" fmla="*/ 273051 w 2279650"/>
                <a:gd name="connsiteY99" fmla="*/ 1289153 h 3271623"/>
                <a:gd name="connsiteX100" fmla="*/ 410211 w 2279650"/>
                <a:gd name="connsiteY100" fmla="*/ 1144373 h 3271623"/>
                <a:gd name="connsiteX101" fmla="*/ 509271 w 2279650"/>
                <a:gd name="connsiteY101" fmla="*/ 1197713 h 3271623"/>
                <a:gd name="connsiteX102" fmla="*/ 570231 w 2279650"/>
                <a:gd name="connsiteY102" fmla="*/ 1113893 h 3271623"/>
                <a:gd name="connsiteX103" fmla="*/ 638811 w 2279650"/>
                <a:gd name="connsiteY103" fmla="*/ 923393 h 3271623"/>
                <a:gd name="connsiteX104" fmla="*/ 638811 w 2279650"/>
                <a:gd name="connsiteY104" fmla="*/ 847193 h 3271623"/>
                <a:gd name="connsiteX105" fmla="*/ 821691 w 2279650"/>
                <a:gd name="connsiteY105" fmla="*/ 847193 h 3271623"/>
                <a:gd name="connsiteX106" fmla="*/ 890271 w 2279650"/>
                <a:gd name="connsiteY106" fmla="*/ 656693 h 3271623"/>
                <a:gd name="connsiteX107" fmla="*/ 836931 w 2279650"/>
                <a:gd name="connsiteY107" fmla="*/ 557633 h 3271623"/>
                <a:gd name="connsiteX108" fmla="*/ 737871 w 2279650"/>
                <a:gd name="connsiteY108" fmla="*/ 618593 h 3271623"/>
                <a:gd name="connsiteX109" fmla="*/ 661671 w 2279650"/>
                <a:gd name="connsiteY109" fmla="*/ 565253 h 3271623"/>
                <a:gd name="connsiteX110" fmla="*/ 821691 w 2279650"/>
                <a:gd name="connsiteY110" fmla="*/ 397613 h 3271623"/>
                <a:gd name="connsiteX111" fmla="*/ 1050291 w 2279650"/>
                <a:gd name="connsiteY111" fmla="*/ 397613 h 3271623"/>
                <a:gd name="connsiteX112" fmla="*/ 1042671 w 2279650"/>
                <a:gd name="connsiteY112" fmla="*/ 321413 h 3271623"/>
                <a:gd name="connsiteX113" fmla="*/ 1019811 w 2279650"/>
                <a:gd name="connsiteY113" fmla="*/ 245213 h 3271623"/>
                <a:gd name="connsiteX114" fmla="*/ 1118871 w 2279650"/>
                <a:gd name="connsiteY114" fmla="*/ 191873 h 3271623"/>
                <a:gd name="connsiteX115" fmla="*/ 1164591 w 2279650"/>
                <a:gd name="connsiteY115" fmla="*/ 222353 h 3271623"/>
                <a:gd name="connsiteX116" fmla="*/ 1179831 w 2279650"/>
                <a:gd name="connsiteY116" fmla="*/ 298553 h 3271623"/>
                <a:gd name="connsiteX117" fmla="*/ 1248411 w 2279650"/>
                <a:gd name="connsiteY117" fmla="*/ 283313 h 3271623"/>
                <a:gd name="connsiteX118" fmla="*/ 1469391 w 2279650"/>
                <a:gd name="connsiteY118" fmla="*/ 62333 h 3271623"/>
                <a:gd name="connsiteX119" fmla="*/ 1431291 w 2279650"/>
                <a:gd name="connsiteY119" fmla="*/ 31853 h 3271623"/>
                <a:gd name="connsiteX120" fmla="*/ 1522731 w 2279650"/>
                <a:gd name="connsiteY120" fmla="*/ 24233 h 3271623"/>
                <a:gd name="connsiteX0" fmla="*/ 1553888 w 2279650"/>
                <a:gd name="connsiteY0" fmla="*/ 0 h 3271623"/>
                <a:gd name="connsiteX1" fmla="*/ 1674218 w 2279650"/>
                <a:gd name="connsiteY1" fmla="*/ 13752 h 3271623"/>
                <a:gd name="connsiteX2" fmla="*/ 1737718 w 2279650"/>
                <a:gd name="connsiteY2" fmla="*/ 96302 h 3271623"/>
                <a:gd name="connsiteX3" fmla="*/ 1667868 w 2279650"/>
                <a:gd name="connsiteY3" fmla="*/ 191552 h 3271623"/>
                <a:gd name="connsiteX4" fmla="*/ 1705968 w 2279650"/>
                <a:gd name="connsiteY4" fmla="*/ 350302 h 3271623"/>
                <a:gd name="connsiteX5" fmla="*/ 1623418 w 2279650"/>
                <a:gd name="connsiteY5" fmla="*/ 420152 h 3271623"/>
                <a:gd name="connsiteX6" fmla="*/ 1725018 w 2279650"/>
                <a:gd name="connsiteY6" fmla="*/ 521752 h 3271623"/>
                <a:gd name="connsiteX7" fmla="*/ 1794868 w 2279650"/>
                <a:gd name="connsiteY7" fmla="*/ 496352 h 3271623"/>
                <a:gd name="connsiteX8" fmla="*/ 1763118 w 2279650"/>
                <a:gd name="connsiteY8" fmla="*/ 426502 h 3271623"/>
                <a:gd name="connsiteX9" fmla="*/ 1871068 w 2279650"/>
                <a:gd name="connsiteY9" fmla="*/ 363002 h 3271623"/>
                <a:gd name="connsiteX10" fmla="*/ 1979018 w 2279650"/>
                <a:gd name="connsiteY10" fmla="*/ 407452 h 3271623"/>
                <a:gd name="connsiteX11" fmla="*/ 2250364 w 2279650"/>
                <a:gd name="connsiteY11" fmla="*/ 255498 h 3271623"/>
                <a:gd name="connsiteX12" fmla="*/ 1995175 w 2279650"/>
                <a:gd name="connsiteY12" fmla="*/ 398405 h 3271623"/>
                <a:gd name="connsiteX13" fmla="*/ 2000250 w 2279650"/>
                <a:gd name="connsiteY13" fmla="*/ 407774 h 3271623"/>
                <a:gd name="connsiteX14" fmla="*/ 2025650 w 2279650"/>
                <a:gd name="connsiteY14" fmla="*/ 541124 h 3271623"/>
                <a:gd name="connsiteX15" fmla="*/ 2120900 w 2279650"/>
                <a:gd name="connsiteY15" fmla="*/ 572874 h 3271623"/>
                <a:gd name="connsiteX16" fmla="*/ 2146300 w 2279650"/>
                <a:gd name="connsiteY16" fmla="*/ 661774 h 3271623"/>
                <a:gd name="connsiteX17" fmla="*/ 2279650 w 2279650"/>
                <a:gd name="connsiteY17" fmla="*/ 706224 h 3271623"/>
                <a:gd name="connsiteX18" fmla="*/ 2254250 w 2279650"/>
                <a:gd name="connsiteY18" fmla="*/ 788774 h 3271623"/>
                <a:gd name="connsiteX19" fmla="*/ 2171700 w 2279650"/>
                <a:gd name="connsiteY19" fmla="*/ 763374 h 3271623"/>
                <a:gd name="connsiteX20" fmla="*/ 2222500 w 2279650"/>
                <a:gd name="connsiteY20" fmla="*/ 820524 h 3271623"/>
                <a:gd name="connsiteX21" fmla="*/ 2197100 w 2279650"/>
                <a:gd name="connsiteY21" fmla="*/ 871324 h 3271623"/>
                <a:gd name="connsiteX22" fmla="*/ 2279650 w 2279650"/>
                <a:gd name="connsiteY22" fmla="*/ 947524 h 3271623"/>
                <a:gd name="connsiteX23" fmla="*/ 2241550 w 2279650"/>
                <a:gd name="connsiteY23" fmla="*/ 985624 h 3271623"/>
                <a:gd name="connsiteX24" fmla="*/ 2165350 w 2279650"/>
                <a:gd name="connsiteY24" fmla="*/ 966574 h 3271623"/>
                <a:gd name="connsiteX25" fmla="*/ 2076450 w 2279650"/>
                <a:gd name="connsiteY25" fmla="*/ 972924 h 3271623"/>
                <a:gd name="connsiteX26" fmla="*/ 2108200 w 2279650"/>
                <a:gd name="connsiteY26" fmla="*/ 1068174 h 3271623"/>
                <a:gd name="connsiteX27" fmla="*/ 2025650 w 2279650"/>
                <a:gd name="connsiteY27" fmla="*/ 1068174 h 3271623"/>
                <a:gd name="connsiteX28" fmla="*/ 2025650 w 2279650"/>
                <a:gd name="connsiteY28" fmla="*/ 1125324 h 3271623"/>
                <a:gd name="connsiteX29" fmla="*/ 2063750 w 2279650"/>
                <a:gd name="connsiteY29" fmla="*/ 1125324 h 3271623"/>
                <a:gd name="connsiteX30" fmla="*/ 2108200 w 2279650"/>
                <a:gd name="connsiteY30" fmla="*/ 1138024 h 3271623"/>
                <a:gd name="connsiteX31" fmla="*/ 2101850 w 2279650"/>
                <a:gd name="connsiteY31" fmla="*/ 1226924 h 3271623"/>
                <a:gd name="connsiteX32" fmla="*/ 2019300 w 2279650"/>
                <a:gd name="connsiteY32" fmla="*/ 1239624 h 3271623"/>
                <a:gd name="connsiteX33" fmla="*/ 1936750 w 2279650"/>
                <a:gd name="connsiteY33" fmla="*/ 1487274 h 3271623"/>
                <a:gd name="connsiteX34" fmla="*/ 1993900 w 2279650"/>
                <a:gd name="connsiteY34" fmla="*/ 1544424 h 3271623"/>
                <a:gd name="connsiteX35" fmla="*/ 2044700 w 2279650"/>
                <a:gd name="connsiteY35" fmla="*/ 1531724 h 3271623"/>
                <a:gd name="connsiteX36" fmla="*/ 2032000 w 2279650"/>
                <a:gd name="connsiteY36" fmla="*/ 1480924 h 3271623"/>
                <a:gd name="connsiteX37" fmla="*/ 2108200 w 2279650"/>
                <a:gd name="connsiteY37" fmla="*/ 1474574 h 3271623"/>
                <a:gd name="connsiteX38" fmla="*/ 2146300 w 2279650"/>
                <a:gd name="connsiteY38" fmla="*/ 1525374 h 3271623"/>
                <a:gd name="connsiteX39" fmla="*/ 2108200 w 2279650"/>
                <a:gd name="connsiteY39" fmla="*/ 1563474 h 3271623"/>
                <a:gd name="connsiteX40" fmla="*/ 2103467 w 2279650"/>
                <a:gd name="connsiteY40" fmla="*/ 1700749 h 3271623"/>
                <a:gd name="connsiteX41" fmla="*/ 2076450 w 2279650"/>
                <a:gd name="connsiteY41" fmla="*/ 1741273 h 3271623"/>
                <a:gd name="connsiteX42" fmla="*/ 1936750 w 2279650"/>
                <a:gd name="connsiteY42" fmla="*/ 1836523 h 3271623"/>
                <a:gd name="connsiteX43" fmla="*/ 1841500 w 2279650"/>
                <a:gd name="connsiteY43" fmla="*/ 1785723 h 3271623"/>
                <a:gd name="connsiteX44" fmla="*/ 1803400 w 2279650"/>
                <a:gd name="connsiteY44" fmla="*/ 1988923 h 3271623"/>
                <a:gd name="connsiteX45" fmla="*/ 1720850 w 2279650"/>
                <a:gd name="connsiteY45" fmla="*/ 2090523 h 3271623"/>
                <a:gd name="connsiteX46" fmla="*/ 1612900 w 2279650"/>
                <a:gd name="connsiteY46" fmla="*/ 2077823 h 3271623"/>
                <a:gd name="connsiteX47" fmla="*/ 1612900 w 2279650"/>
                <a:gd name="connsiteY47" fmla="*/ 2185773 h 3271623"/>
                <a:gd name="connsiteX48" fmla="*/ 1619250 w 2279650"/>
                <a:gd name="connsiteY48" fmla="*/ 2274673 h 3271623"/>
                <a:gd name="connsiteX49" fmla="*/ 1492250 w 2279650"/>
                <a:gd name="connsiteY49" fmla="*/ 2274673 h 3271623"/>
                <a:gd name="connsiteX50" fmla="*/ 1492250 w 2279650"/>
                <a:gd name="connsiteY50" fmla="*/ 2223873 h 3271623"/>
                <a:gd name="connsiteX51" fmla="*/ 1339850 w 2279650"/>
                <a:gd name="connsiteY51" fmla="*/ 2223873 h 3271623"/>
                <a:gd name="connsiteX52" fmla="*/ 1250950 w 2279650"/>
                <a:gd name="connsiteY52" fmla="*/ 2281023 h 3271623"/>
                <a:gd name="connsiteX53" fmla="*/ 1231900 w 2279650"/>
                <a:gd name="connsiteY53" fmla="*/ 2230223 h 3271623"/>
                <a:gd name="connsiteX54" fmla="*/ 1123950 w 2279650"/>
                <a:gd name="connsiteY54" fmla="*/ 2249273 h 3271623"/>
                <a:gd name="connsiteX55" fmla="*/ 1123950 w 2279650"/>
                <a:gd name="connsiteY55" fmla="*/ 2350873 h 3271623"/>
                <a:gd name="connsiteX56" fmla="*/ 1155700 w 2279650"/>
                <a:gd name="connsiteY56" fmla="*/ 2427073 h 3271623"/>
                <a:gd name="connsiteX57" fmla="*/ 1149350 w 2279650"/>
                <a:gd name="connsiteY57" fmla="*/ 2642973 h 3271623"/>
                <a:gd name="connsiteX58" fmla="*/ 1206500 w 2279650"/>
                <a:gd name="connsiteY58" fmla="*/ 2668373 h 3271623"/>
                <a:gd name="connsiteX59" fmla="*/ 1270000 w 2279650"/>
                <a:gd name="connsiteY59" fmla="*/ 2769973 h 3271623"/>
                <a:gd name="connsiteX60" fmla="*/ 1193800 w 2279650"/>
                <a:gd name="connsiteY60" fmla="*/ 2909673 h 3271623"/>
                <a:gd name="connsiteX61" fmla="*/ 1193800 w 2279650"/>
                <a:gd name="connsiteY61" fmla="*/ 3036673 h 3271623"/>
                <a:gd name="connsiteX62" fmla="*/ 1244600 w 2279650"/>
                <a:gd name="connsiteY62" fmla="*/ 3119223 h 3271623"/>
                <a:gd name="connsiteX63" fmla="*/ 1098550 w 2279650"/>
                <a:gd name="connsiteY63" fmla="*/ 3138273 h 3271623"/>
                <a:gd name="connsiteX64" fmla="*/ 1079500 w 2279650"/>
                <a:gd name="connsiteY64" fmla="*/ 3208123 h 3271623"/>
                <a:gd name="connsiteX65" fmla="*/ 952500 w 2279650"/>
                <a:gd name="connsiteY65" fmla="*/ 3271623 h 3271623"/>
                <a:gd name="connsiteX66" fmla="*/ 990600 w 2279650"/>
                <a:gd name="connsiteY66" fmla="*/ 3138273 h 3271623"/>
                <a:gd name="connsiteX67" fmla="*/ 933450 w 2279650"/>
                <a:gd name="connsiteY67" fmla="*/ 3100173 h 3271623"/>
                <a:gd name="connsiteX68" fmla="*/ 857250 w 2279650"/>
                <a:gd name="connsiteY68" fmla="*/ 3112873 h 3271623"/>
                <a:gd name="connsiteX69" fmla="*/ 850900 w 2279650"/>
                <a:gd name="connsiteY69" fmla="*/ 2973173 h 3271623"/>
                <a:gd name="connsiteX70" fmla="*/ 755650 w 2279650"/>
                <a:gd name="connsiteY70" fmla="*/ 2985873 h 3271623"/>
                <a:gd name="connsiteX71" fmla="*/ 762000 w 2279650"/>
                <a:gd name="connsiteY71" fmla="*/ 3093823 h 3271623"/>
                <a:gd name="connsiteX72" fmla="*/ 698500 w 2279650"/>
                <a:gd name="connsiteY72" fmla="*/ 3112873 h 3271623"/>
                <a:gd name="connsiteX73" fmla="*/ 584200 w 2279650"/>
                <a:gd name="connsiteY73" fmla="*/ 3049373 h 3271623"/>
                <a:gd name="connsiteX74" fmla="*/ 514350 w 2279650"/>
                <a:gd name="connsiteY74" fmla="*/ 2871573 h 3271623"/>
                <a:gd name="connsiteX75" fmla="*/ 635000 w 2279650"/>
                <a:gd name="connsiteY75" fmla="*/ 2757273 h 3271623"/>
                <a:gd name="connsiteX76" fmla="*/ 577850 w 2279650"/>
                <a:gd name="connsiteY76" fmla="*/ 2744573 h 3271623"/>
                <a:gd name="connsiteX77" fmla="*/ 533400 w 2279650"/>
                <a:gd name="connsiteY77" fmla="*/ 2598523 h 3271623"/>
                <a:gd name="connsiteX78" fmla="*/ 431800 w 2279650"/>
                <a:gd name="connsiteY78" fmla="*/ 2388973 h 3271623"/>
                <a:gd name="connsiteX79" fmla="*/ 241300 w 2279650"/>
                <a:gd name="connsiteY79" fmla="*/ 2414373 h 3271623"/>
                <a:gd name="connsiteX80" fmla="*/ 101600 w 2279650"/>
                <a:gd name="connsiteY80" fmla="*/ 2452473 h 3271623"/>
                <a:gd name="connsiteX81" fmla="*/ 0 w 2279650"/>
                <a:gd name="connsiteY81" fmla="*/ 2325473 h 3271623"/>
                <a:gd name="connsiteX82" fmla="*/ 57150 w 2279650"/>
                <a:gd name="connsiteY82" fmla="*/ 2242923 h 3271623"/>
                <a:gd name="connsiteX83" fmla="*/ 127000 w 2279650"/>
                <a:gd name="connsiteY83" fmla="*/ 2255623 h 3271623"/>
                <a:gd name="connsiteX84" fmla="*/ 82550 w 2279650"/>
                <a:gd name="connsiteY84" fmla="*/ 2160373 h 3271623"/>
                <a:gd name="connsiteX85" fmla="*/ 171450 w 2279650"/>
                <a:gd name="connsiteY85" fmla="*/ 2096873 h 3271623"/>
                <a:gd name="connsiteX86" fmla="*/ 247650 w 2279650"/>
                <a:gd name="connsiteY86" fmla="*/ 2103223 h 3271623"/>
                <a:gd name="connsiteX87" fmla="*/ 222250 w 2279650"/>
                <a:gd name="connsiteY87" fmla="*/ 2027023 h 3271623"/>
                <a:gd name="connsiteX88" fmla="*/ 336550 w 2279650"/>
                <a:gd name="connsiteY88" fmla="*/ 2027023 h 3271623"/>
                <a:gd name="connsiteX89" fmla="*/ 279400 w 2279650"/>
                <a:gd name="connsiteY89" fmla="*/ 1944473 h 3271623"/>
                <a:gd name="connsiteX90" fmla="*/ 139700 w 2279650"/>
                <a:gd name="connsiteY90" fmla="*/ 1830173 h 3271623"/>
                <a:gd name="connsiteX91" fmla="*/ 184150 w 2279650"/>
                <a:gd name="connsiteY91" fmla="*/ 1690473 h 3271623"/>
                <a:gd name="connsiteX92" fmla="*/ 228600 w 2279650"/>
                <a:gd name="connsiteY92" fmla="*/ 1595223 h 3271623"/>
                <a:gd name="connsiteX93" fmla="*/ 311150 w 2279650"/>
                <a:gd name="connsiteY93" fmla="*/ 1646023 h 3271623"/>
                <a:gd name="connsiteX94" fmla="*/ 317500 w 2279650"/>
                <a:gd name="connsiteY94" fmla="*/ 1538073 h 3271623"/>
                <a:gd name="connsiteX95" fmla="*/ 304800 w 2279650"/>
                <a:gd name="connsiteY95" fmla="*/ 1436473 h 3271623"/>
                <a:gd name="connsiteX96" fmla="*/ 297150 w 2279650"/>
                <a:gd name="connsiteY96" fmla="*/ 1428313 h 3271623"/>
                <a:gd name="connsiteX97" fmla="*/ 311151 w 2279650"/>
                <a:gd name="connsiteY97" fmla="*/ 1426313 h 3271623"/>
                <a:gd name="connsiteX98" fmla="*/ 273051 w 2279650"/>
                <a:gd name="connsiteY98" fmla="*/ 1289153 h 3271623"/>
                <a:gd name="connsiteX99" fmla="*/ 410211 w 2279650"/>
                <a:gd name="connsiteY99" fmla="*/ 1144373 h 3271623"/>
                <a:gd name="connsiteX100" fmla="*/ 509271 w 2279650"/>
                <a:gd name="connsiteY100" fmla="*/ 1197713 h 3271623"/>
                <a:gd name="connsiteX101" fmla="*/ 570231 w 2279650"/>
                <a:gd name="connsiteY101" fmla="*/ 1113893 h 3271623"/>
                <a:gd name="connsiteX102" fmla="*/ 638811 w 2279650"/>
                <a:gd name="connsiteY102" fmla="*/ 923393 h 3271623"/>
                <a:gd name="connsiteX103" fmla="*/ 638811 w 2279650"/>
                <a:gd name="connsiteY103" fmla="*/ 847193 h 3271623"/>
                <a:gd name="connsiteX104" fmla="*/ 821691 w 2279650"/>
                <a:gd name="connsiteY104" fmla="*/ 847193 h 3271623"/>
                <a:gd name="connsiteX105" fmla="*/ 890271 w 2279650"/>
                <a:gd name="connsiteY105" fmla="*/ 656693 h 3271623"/>
                <a:gd name="connsiteX106" fmla="*/ 836931 w 2279650"/>
                <a:gd name="connsiteY106" fmla="*/ 557633 h 3271623"/>
                <a:gd name="connsiteX107" fmla="*/ 737871 w 2279650"/>
                <a:gd name="connsiteY107" fmla="*/ 618593 h 3271623"/>
                <a:gd name="connsiteX108" fmla="*/ 661671 w 2279650"/>
                <a:gd name="connsiteY108" fmla="*/ 565253 h 3271623"/>
                <a:gd name="connsiteX109" fmla="*/ 821691 w 2279650"/>
                <a:gd name="connsiteY109" fmla="*/ 397613 h 3271623"/>
                <a:gd name="connsiteX110" fmla="*/ 1050291 w 2279650"/>
                <a:gd name="connsiteY110" fmla="*/ 397613 h 3271623"/>
                <a:gd name="connsiteX111" fmla="*/ 1042671 w 2279650"/>
                <a:gd name="connsiteY111" fmla="*/ 321413 h 3271623"/>
                <a:gd name="connsiteX112" fmla="*/ 1019811 w 2279650"/>
                <a:gd name="connsiteY112" fmla="*/ 245213 h 3271623"/>
                <a:gd name="connsiteX113" fmla="*/ 1118871 w 2279650"/>
                <a:gd name="connsiteY113" fmla="*/ 191873 h 3271623"/>
                <a:gd name="connsiteX114" fmla="*/ 1164591 w 2279650"/>
                <a:gd name="connsiteY114" fmla="*/ 222353 h 3271623"/>
                <a:gd name="connsiteX115" fmla="*/ 1179831 w 2279650"/>
                <a:gd name="connsiteY115" fmla="*/ 298553 h 3271623"/>
                <a:gd name="connsiteX116" fmla="*/ 1248411 w 2279650"/>
                <a:gd name="connsiteY116" fmla="*/ 283313 h 3271623"/>
                <a:gd name="connsiteX117" fmla="*/ 1469391 w 2279650"/>
                <a:gd name="connsiteY117" fmla="*/ 62333 h 3271623"/>
                <a:gd name="connsiteX118" fmla="*/ 1431291 w 2279650"/>
                <a:gd name="connsiteY118" fmla="*/ 31853 h 3271623"/>
                <a:gd name="connsiteX119" fmla="*/ 1522731 w 2279650"/>
                <a:gd name="connsiteY119" fmla="*/ 24233 h 3271623"/>
                <a:gd name="connsiteX120" fmla="*/ 1553888 w 2279650"/>
                <a:gd name="connsiteY120" fmla="*/ 0 h 3271623"/>
                <a:gd name="connsiteX0" fmla="*/ 1553888 w 2279650"/>
                <a:gd name="connsiteY0" fmla="*/ 0 h 3271623"/>
                <a:gd name="connsiteX1" fmla="*/ 1674218 w 2279650"/>
                <a:gd name="connsiteY1" fmla="*/ 13752 h 3271623"/>
                <a:gd name="connsiteX2" fmla="*/ 1737718 w 2279650"/>
                <a:gd name="connsiteY2" fmla="*/ 96302 h 3271623"/>
                <a:gd name="connsiteX3" fmla="*/ 1667868 w 2279650"/>
                <a:gd name="connsiteY3" fmla="*/ 191552 h 3271623"/>
                <a:gd name="connsiteX4" fmla="*/ 1705968 w 2279650"/>
                <a:gd name="connsiteY4" fmla="*/ 350302 h 3271623"/>
                <a:gd name="connsiteX5" fmla="*/ 1623418 w 2279650"/>
                <a:gd name="connsiteY5" fmla="*/ 420152 h 3271623"/>
                <a:gd name="connsiteX6" fmla="*/ 1725018 w 2279650"/>
                <a:gd name="connsiteY6" fmla="*/ 521752 h 3271623"/>
                <a:gd name="connsiteX7" fmla="*/ 1794868 w 2279650"/>
                <a:gd name="connsiteY7" fmla="*/ 496352 h 3271623"/>
                <a:gd name="connsiteX8" fmla="*/ 1763118 w 2279650"/>
                <a:gd name="connsiteY8" fmla="*/ 426502 h 3271623"/>
                <a:gd name="connsiteX9" fmla="*/ 1871068 w 2279650"/>
                <a:gd name="connsiteY9" fmla="*/ 363002 h 3271623"/>
                <a:gd name="connsiteX10" fmla="*/ 1979018 w 2279650"/>
                <a:gd name="connsiteY10" fmla="*/ 407452 h 3271623"/>
                <a:gd name="connsiteX11" fmla="*/ 1995175 w 2279650"/>
                <a:gd name="connsiteY11" fmla="*/ 398405 h 3271623"/>
                <a:gd name="connsiteX12" fmla="*/ 2000250 w 2279650"/>
                <a:gd name="connsiteY12" fmla="*/ 407774 h 3271623"/>
                <a:gd name="connsiteX13" fmla="*/ 2025650 w 2279650"/>
                <a:gd name="connsiteY13" fmla="*/ 541124 h 3271623"/>
                <a:gd name="connsiteX14" fmla="*/ 2120900 w 2279650"/>
                <a:gd name="connsiteY14" fmla="*/ 572874 h 3271623"/>
                <a:gd name="connsiteX15" fmla="*/ 2146300 w 2279650"/>
                <a:gd name="connsiteY15" fmla="*/ 661774 h 3271623"/>
                <a:gd name="connsiteX16" fmla="*/ 2279650 w 2279650"/>
                <a:gd name="connsiteY16" fmla="*/ 706224 h 3271623"/>
                <a:gd name="connsiteX17" fmla="*/ 2254250 w 2279650"/>
                <a:gd name="connsiteY17" fmla="*/ 788774 h 3271623"/>
                <a:gd name="connsiteX18" fmla="*/ 2171700 w 2279650"/>
                <a:gd name="connsiteY18" fmla="*/ 763374 h 3271623"/>
                <a:gd name="connsiteX19" fmla="*/ 2222500 w 2279650"/>
                <a:gd name="connsiteY19" fmla="*/ 820524 h 3271623"/>
                <a:gd name="connsiteX20" fmla="*/ 2197100 w 2279650"/>
                <a:gd name="connsiteY20" fmla="*/ 871324 h 3271623"/>
                <a:gd name="connsiteX21" fmla="*/ 2279650 w 2279650"/>
                <a:gd name="connsiteY21" fmla="*/ 947524 h 3271623"/>
                <a:gd name="connsiteX22" fmla="*/ 2241550 w 2279650"/>
                <a:gd name="connsiteY22" fmla="*/ 985624 h 3271623"/>
                <a:gd name="connsiteX23" fmla="*/ 2165350 w 2279650"/>
                <a:gd name="connsiteY23" fmla="*/ 966574 h 3271623"/>
                <a:gd name="connsiteX24" fmla="*/ 2076450 w 2279650"/>
                <a:gd name="connsiteY24" fmla="*/ 972924 h 3271623"/>
                <a:gd name="connsiteX25" fmla="*/ 2108200 w 2279650"/>
                <a:gd name="connsiteY25" fmla="*/ 1068174 h 3271623"/>
                <a:gd name="connsiteX26" fmla="*/ 2025650 w 2279650"/>
                <a:gd name="connsiteY26" fmla="*/ 1068174 h 3271623"/>
                <a:gd name="connsiteX27" fmla="*/ 2025650 w 2279650"/>
                <a:gd name="connsiteY27" fmla="*/ 1125324 h 3271623"/>
                <a:gd name="connsiteX28" fmla="*/ 2063750 w 2279650"/>
                <a:gd name="connsiteY28" fmla="*/ 1125324 h 3271623"/>
                <a:gd name="connsiteX29" fmla="*/ 2108200 w 2279650"/>
                <a:gd name="connsiteY29" fmla="*/ 1138024 h 3271623"/>
                <a:gd name="connsiteX30" fmla="*/ 2101850 w 2279650"/>
                <a:gd name="connsiteY30" fmla="*/ 1226924 h 3271623"/>
                <a:gd name="connsiteX31" fmla="*/ 2019300 w 2279650"/>
                <a:gd name="connsiteY31" fmla="*/ 1239624 h 3271623"/>
                <a:gd name="connsiteX32" fmla="*/ 1936750 w 2279650"/>
                <a:gd name="connsiteY32" fmla="*/ 1487274 h 3271623"/>
                <a:gd name="connsiteX33" fmla="*/ 1993900 w 2279650"/>
                <a:gd name="connsiteY33" fmla="*/ 1544424 h 3271623"/>
                <a:gd name="connsiteX34" fmla="*/ 2044700 w 2279650"/>
                <a:gd name="connsiteY34" fmla="*/ 1531724 h 3271623"/>
                <a:gd name="connsiteX35" fmla="*/ 2032000 w 2279650"/>
                <a:gd name="connsiteY35" fmla="*/ 1480924 h 3271623"/>
                <a:gd name="connsiteX36" fmla="*/ 2108200 w 2279650"/>
                <a:gd name="connsiteY36" fmla="*/ 1474574 h 3271623"/>
                <a:gd name="connsiteX37" fmla="*/ 2146300 w 2279650"/>
                <a:gd name="connsiteY37" fmla="*/ 1525374 h 3271623"/>
                <a:gd name="connsiteX38" fmla="*/ 2108200 w 2279650"/>
                <a:gd name="connsiteY38" fmla="*/ 1563474 h 3271623"/>
                <a:gd name="connsiteX39" fmla="*/ 2103467 w 2279650"/>
                <a:gd name="connsiteY39" fmla="*/ 1700749 h 3271623"/>
                <a:gd name="connsiteX40" fmla="*/ 2076450 w 2279650"/>
                <a:gd name="connsiteY40" fmla="*/ 1741273 h 3271623"/>
                <a:gd name="connsiteX41" fmla="*/ 1936750 w 2279650"/>
                <a:gd name="connsiteY41" fmla="*/ 1836523 h 3271623"/>
                <a:gd name="connsiteX42" fmla="*/ 1841500 w 2279650"/>
                <a:gd name="connsiteY42" fmla="*/ 1785723 h 3271623"/>
                <a:gd name="connsiteX43" fmla="*/ 1803400 w 2279650"/>
                <a:gd name="connsiteY43" fmla="*/ 1988923 h 3271623"/>
                <a:gd name="connsiteX44" fmla="*/ 1720850 w 2279650"/>
                <a:gd name="connsiteY44" fmla="*/ 2090523 h 3271623"/>
                <a:gd name="connsiteX45" fmla="*/ 1612900 w 2279650"/>
                <a:gd name="connsiteY45" fmla="*/ 2077823 h 3271623"/>
                <a:gd name="connsiteX46" fmla="*/ 1612900 w 2279650"/>
                <a:gd name="connsiteY46" fmla="*/ 2185773 h 3271623"/>
                <a:gd name="connsiteX47" fmla="*/ 1619250 w 2279650"/>
                <a:gd name="connsiteY47" fmla="*/ 2274673 h 3271623"/>
                <a:gd name="connsiteX48" fmla="*/ 1492250 w 2279650"/>
                <a:gd name="connsiteY48" fmla="*/ 2274673 h 3271623"/>
                <a:gd name="connsiteX49" fmla="*/ 1492250 w 2279650"/>
                <a:gd name="connsiteY49" fmla="*/ 2223873 h 3271623"/>
                <a:gd name="connsiteX50" fmla="*/ 1339850 w 2279650"/>
                <a:gd name="connsiteY50" fmla="*/ 2223873 h 3271623"/>
                <a:gd name="connsiteX51" fmla="*/ 1250950 w 2279650"/>
                <a:gd name="connsiteY51" fmla="*/ 2281023 h 3271623"/>
                <a:gd name="connsiteX52" fmla="*/ 1231900 w 2279650"/>
                <a:gd name="connsiteY52" fmla="*/ 2230223 h 3271623"/>
                <a:gd name="connsiteX53" fmla="*/ 1123950 w 2279650"/>
                <a:gd name="connsiteY53" fmla="*/ 2249273 h 3271623"/>
                <a:gd name="connsiteX54" fmla="*/ 1123950 w 2279650"/>
                <a:gd name="connsiteY54" fmla="*/ 2350873 h 3271623"/>
                <a:gd name="connsiteX55" fmla="*/ 1155700 w 2279650"/>
                <a:gd name="connsiteY55" fmla="*/ 2427073 h 3271623"/>
                <a:gd name="connsiteX56" fmla="*/ 1149350 w 2279650"/>
                <a:gd name="connsiteY56" fmla="*/ 2642973 h 3271623"/>
                <a:gd name="connsiteX57" fmla="*/ 1206500 w 2279650"/>
                <a:gd name="connsiteY57" fmla="*/ 2668373 h 3271623"/>
                <a:gd name="connsiteX58" fmla="*/ 1270000 w 2279650"/>
                <a:gd name="connsiteY58" fmla="*/ 2769973 h 3271623"/>
                <a:gd name="connsiteX59" fmla="*/ 1193800 w 2279650"/>
                <a:gd name="connsiteY59" fmla="*/ 2909673 h 3271623"/>
                <a:gd name="connsiteX60" fmla="*/ 1193800 w 2279650"/>
                <a:gd name="connsiteY60" fmla="*/ 3036673 h 3271623"/>
                <a:gd name="connsiteX61" fmla="*/ 1244600 w 2279650"/>
                <a:gd name="connsiteY61" fmla="*/ 3119223 h 3271623"/>
                <a:gd name="connsiteX62" fmla="*/ 1098550 w 2279650"/>
                <a:gd name="connsiteY62" fmla="*/ 3138273 h 3271623"/>
                <a:gd name="connsiteX63" fmla="*/ 1079500 w 2279650"/>
                <a:gd name="connsiteY63" fmla="*/ 3208123 h 3271623"/>
                <a:gd name="connsiteX64" fmla="*/ 952500 w 2279650"/>
                <a:gd name="connsiteY64" fmla="*/ 3271623 h 3271623"/>
                <a:gd name="connsiteX65" fmla="*/ 990600 w 2279650"/>
                <a:gd name="connsiteY65" fmla="*/ 3138273 h 3271623"/>
                <a:gd name="connsiteX66" fmla="*/ 933450 w 2279650"/>
                <a:gd name="connsiteY66" fmla="*/ 3100173 h 3271623"/>
                <a:gd name="connsiteX67" fmla="*/ 857250 w 2279650"/>
                <a:gd name="connsiteY67" fmla="*/ 3112873 h 3271623"/>
                <a:gd name="connsiteX68" fmla="*/ 850900 w 2279650"/>
                <a:gd name="connsiteY68" fmla="*/ 2973173 h 3271623"/>
                <a:gd name="connsiteX69" fmla="*/ 755650 w 2279650"/>
                <a:gd name="connsiteY69" fmla="*/ 2985873 h 3271623"/>
                <a:gd name="connsiteX70" fmla="*/ 762000 w 2279650"/>
                <a:gd name="connsiteY70" fmla="*/ 3093823 h 3271623"/>
                <a:gd name="connsiteX71" fmla="*/ 698500 w 2279650"/>
                <a:gd name="connsiteY71" fmla="*/ 3112873 h 3271623"/>
                <a:gd name="connsiteX72" fmla="*/ 584200 w 2279650"/>
                <a:gd name="connsiteY72" fmla="*/ 3049373 h 3271623"/>
                <a:gd name="connsiteX73" fmla="*/ 514350 w 2279650"/>
                <a:gd name="connsiteY73" fmla="*/ 2871573 h 3271623"/>
                <a:gd name="connsiteX74" fmla="*/ 635000 w 2279650"/>
                <a:gd name="connsiteY74" fmla="*/ 2757273 h 3271623"/>
                <a:gd name="connsiteX75" fmla="*/ 577850 w 2279650"/>
                <a:gd name="connsiteY75" fmla="*/ 2744573 h 3271623"/>
                <a:gd name="connsiteX76" fmla="*/ 533400 w 2279650"/>
                <a:gd name="connsiteY76" fmla="*/ 2598523 h 3271623"/>
                <a:gd name="connsiteX77" fmla="*/ 431800 w 2279650"/>
                <a:gd name="connsiteY77" fmla="*/ 2388973 h 3271623"/>
                <a:gd name="connsiteX78" fmla="*/ 241300 w 2279650"/>
                <a:gd name="connsiteY78" fmla="*/ 2414373 h 3271623"/>
                <a:gd name="connsiteX79" fmla="*/ 101600 w 2279650"/>
                <a:gd name="connsiteY79" fmla="*/ 2452473 h 3271623"/>
                <a:gd name="connsiteX80" fmla="*/ 0 w 2279650"/>
                <a:gd name="connsiteY80" fmla="*/ 2325473 h 3271623"/>
                <a:gd name="connsiteX81" fmla="*/ 57150 w 2279650"/>
                <a:gd name="connsiteY81" fmla="*/ 2242923 h 3271623"/>
                <a:gd name="connsiteX82" fmla="*/ 127000 w 2279650"/>
                <a:gd name="connsiteY82" fmla="*/ 2255623 h 3271623"/>
                <a:gd name="connsiteX83" fmla="*/ 82550 w 2279650"/>
                <a:gd name="connsiteY83" fmla="*/ 2160373 h 3271623"/>
                <a:gd name="connsiteX84" fmla="*/ 171450 w 2279650"/>
                <a:gd name="connsiteY84" fmla="*/ 2096873 h 3271623"/>
                <a:gd name="connsiteX85" fmla="*/ 247650 w 2279650"/>
                <a:gd name="connsiteY85" fmla="*/ 2103223 h 3271623"/>
                <a:gd name="connsiteX86" fmla="*/ 222250 w 2279650"/>
                <a:gd name="connsiteY86" fmla="*/ 2027023 h 3271623"/>
                <a:gd name="connsiteX87" fmla="*/ 336550 w 2279650"/>
                <a:gd name="connsiteY87" fmla="*/ 2027023 h 3271623"/>
                <a:gd name="connsiteX88" fmla="*/ 279400 w 2279650"/>
                <a:gd name="connsiteY88" fmla="*/ 1944473 h 3271623"/>
                <a:gd name="connsiteX89" fmla="*/ 139700 w 2279650"/>
                <a:gd name="connsiteY89" fmla="*/ 1830173 h 3271623"/>
                <a:gd name="connsiteX90" fmla="*/ 184150 w 2279650"/>
                <a:gd name="connsiteY90" fmla="*/ 1690473 h 3271623"/>
                <a:gd name="connsiteX91" fmla="*/ 228600 w 2279650"/>
                <a:gd name="connsiteY91" fmla="*/ 1595223 h 3271623"/>
                <a:gd name="connsiteX92" fmla="*/ 311150 w 2279650"/>
                <a:gd name="connsiteY92" fmla="*/ 1646023 h 3271623"/>
                <a:gd name="connsiteX93" fmla="*/ 317500 w 2279650"/>
                <a:gd name="connsiteY93" fmla="*/ 1538073 h 3271623"/>
                <a:gd name="connsiteX94" fmla="*/ 304800 w 2279650"/>
                <a:gd name="connsiteY94" fmla="*/ 1436473 h 3271623"/>
                <a:gd name="connsiteX95" fmla="*/ 297150 w 2279650"/>
                <a:gd name="connsiteY95" fmla="*/ 1428313 h 3271623"/>
                <a:gd name="connsiteX96" fmla="*/ 311151 w 2279650"/>
                <a:gd name="connsiteY96" fmla="*/ 1426313 h 3271623"/>
                <a:gd name="connsiteX97" fmla="*/ 273051 w 2279650"/>
                <a:gd name="connsiteY97" fmla="*/ 1289153 h 3271623"/>
                <a:gd name="connsiteX98" fmla="*/ 410211 w 2279650"/>
                <a:gd name="connsiteY98" fmla="*/ 1144373 h 3271623"/>
                <a:gd name="connsiteX99" fmla="*/ 509271 w 2279650"/>
                <a:gd name="connsiteY99" fmla="*/ 1197713 h 3271623"/>
                <a:gd name="connsiteX100" fmla="*/ 570231 w 2279650"/>
                <a:gd name="connsiteY100" fmla="*/ 1113893 h 3271623"/>
                <a:gd name="connsiteX101" fmla="*/ 638811 w 2279650"/>
                <a:gd name="connsiteY101" fmla="*/ 923393 h 3271623"/>
                <a:gd name="connsiteX102" fmla="*/ 638811 w 2279650"/>
                <a:gd name="connsiteY102" fmla="*/ 847193 h 3271623"/>
                <a:gd name="connsiteX103" fmla="*/ 821691 w 2279650"/>
                <a:gd name="connsiteY103" fmla="*/ 847193 h 3271623"/>
                <a:gd name="connsiteX104" fmla="*/ 890271 w 2279650"/>
                <a:gd name="connsiteY104" fmla="*/ 656693 h 3271623"/>
                <a:gd name="connsiteX105" fmla="*/ 836931 w 2279650"/>
                <a:gd name="connsiteY105" fmla="*/ 557633 h 3271623"/>
                <a:gd name="connsiteX106" fmla="*/ 737871 w 2279650"/>
                <a:gd name="connsiteY106" fmla="*/ 618593 h 3271623"/>
                <a:gd name="connsiteX107" fmla="*/ 661671 w 2279650"/>
                <a:gd name="connsiteY107" fmla="*/ 565253 h 3271623"/>
                <a:gd name="connsiteX108" fmla="*/ 821691 w 2279650"/>
                <a:gd name="connsiteY108" fmla="*/ 397613 h 3271623"/>
                <a:gd name="connsiteX109" fmla="*/ 1050291 w 2279650"/>
                <a:gd name="connsiteY109" fmla="*/ 397613 h 3271623"/>
                <a:gd name="connsiteX110" fmla="*/ 1042671 w 2279650"/>
                <a:gd name="connsiteY110" fmla="*/ 321413 h 3271623"/>
                <a:gd name="connsiteX111" fmla="*/ 1019811 w 2279650"/>
                <a:gd name="connsiteY111" fmla="*/ 245213 h 3271623"/>
                <a:gd name="connsiteX112" fmla="*/ 1118871 w 2279650"/>
                <a:gd name="connsiteY112" fmla="*/ 191873 h 3271623"/>
                <a:gd name="connsiteX113" fmla="*/ 1164591 w 2279650"/>
                <a:gd name="connsiteY113" fmla="*/ 222353 h 3271623"/>
                <a:gd name="connsiteX114" fmla="*/ 1179831 w 2279650"/>
                <a:gd name="connsiteY114" fmla="*/ 298553 h 3271623"/>
                <a:gd name="connsiteX115" fmla="*/ 1248411 w 2279650"/>
                <a:gd name="connsiteY115" fmla="*/ 283313 h 3271623"/>
                <a:gd name="connsiteX116" fmla="*/ 1469391 w 2279650"/>
                <a:gd name="connsiteY116" fmla="*/ 62333 h 3271623"/>
                <a:gd name="connsiteX117" fmla="*/ 1431291 w 2279650"/>
                <a:gd name="connsiteY117" fmla="*/ 31853 h 3271623"/>
                <a:gd name="connsiteX118" fmla="*/ 1522731 w 2279650"/>
                <a:gd name="connsiteY118" fmla="*/ 24233 h 3271623"/>
                <a:gd name="connsiteX119" fmla="*/ 1553888 w 2279650"/>
                <a:gd name="connsiteY119" fmla="*/ 0 h 32716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2279650" h="3271623">
                  <a:moveTo>
                    <a:pt x="1553888" y="0"/>
                  </a:moveTo>
                  <a:lnTo>
                    <a:pt x="1674218" y="13752"/>
                  </a:lnTo>
                  <a:lnTo>
                    <a:pt x="1737718" y="96302"/>
                  </a:lnTo>
                  <a:lnTo>
                    <a:pt x="1667868" y="191552"/>
                  </a:lnTo>
                  <a:lnTo>
                    <a:pt x="1705968" y="350302"/>
                  </a:lnTo>
                  <a:lnTo>
                    <a:pt x="1623418" y="420152"/>
                  </a:lnTo>
                  <a:lnTo>
                    <a:pt x="1725018" y="521752"/>
                  </a:lnTo>
                  <a:lnTo>
                    <a:pt x="1794868" y="496352"/>
                  </a:lnTo>
                  <a:lnTo>
                    <a:pt x="1763118" y="426502"/>
                  </a:lnTo>
                  <a:lnTo>
                    <a:pt x="1871068" y="363002"/>
                  </a:lnTo>
                  <a:lnTo>
                    <a:pt x="1979018" y="407452"/>
                  </a:lnTo>
                  <a:lnTo>
                    <a:pt x="1995175" y="398405"/>
                  </a:lnTo>
                  <a:lnTo>
                    <a:pt x="2000250" y="407774"/>
                  </a:lnTo>
                  <a:lnTo>
                    <a:pt x="2025650" y="541124"/>
                  </a:lnTo>
                  <a:lnTo>
                    <a:pt x="2120900" y="572874"/>
                  </a:lnTo>
                  <a:lnTo>
                    <a:pt x="2146300" y="661774"/>
                  </a:lnTo>
                  <a:lnTo>
                    <a:pt x="2279650" y="706224"/>
                  </a:lnTo>
                  <a:lnTo>
                    <a:pt x="2254250" y="788774"/>
                  </a:lnTo>
                  <a:lnTo>
                    <a:pt x="2171700" y="763374"/>
                  </a:lnTo>
                  <a:lnTo>
                    <a:pt x="2222500" y="820524"/>
                  </a:lnTo>
                  <a:lnTo>
                    <a:pt x="2197100" y="871324"/>
                  </a:lnTo>
                  <a:lnTo>
                    <a:pt x="2279650" y="947524"/>
                  </a:lnTo>
                  <a:lnTo>
                    <a:pt x="2241550" y="985624"/>
                  </a:lnTo>
                  <a:lnTo>
                    <a:pt x="2165350" y="966574"/>
                  </a:lnTo>
                  <a:lnTo>
                    <a:pt x="2076450" y="972924"/>
                  </a:lnTo>
                  <a:lnTo>
                    <a:pt x="2108200" y="1068174"/>
                  </a:lnTo>
                  <a:lnTo>
                    <a:pt x="2025650" y="1068174"/>
                  </a:lnTo>
                  <a:lnTo>
                    <a:pt x="2025650" y="1125324"/>
                  </a:lnTo>
                  <a:lnTo>
                    <a:pt x="2063750" y="1125324"/>
                  </a:lnTo>
                  <a:lnTo>
                    <a:pt x="2108200" y="1138024"/>
                  </a:lnTo>
                  <a:lnTo>
                    <a:pt x="2101850" y="1226924"/>
                  </a:lnTo>
                  <a:lnTo>
                    <a:pt x="2019300" y="1239624"/>
                  </a:lnTo>
                  <a:lnTo>
                    <a:pt x="1936750" y="1487274"/>
                  </a:lnTo>
                  <a:lnTo>
                    <a:pt x="1993900" y="1544424"/>
                  </a:lnTo>
                  <a:lnTo>
                    <a:pt x="2044700" y="1531724"/>
                  </a:lnTo>
                  <a:lnTo>
                    <a:pt x="2032000" y="1480924"/>
                  </a:lnTo>
                  <a:lnTo>
                    <a:pt x="2108200" y="1474574"/>
                  </a:lnTo>
                  <a:lnTo>
                    <a:pt x="2146300" y="1525374"/>
                  </a:lnTo>
                  <a:lnTo>
                    <a:pt x="2108200" y="1563474"/>
                  </a:lnTo>
                  <a:lnTo>
                    <a:pt x="2103467" y="1700749"/>
                  </a:lnTo>
                  <a:lnTo>
                    <a:pt x="2076450" y="1741273"/>
                  </a:lnTo>
                  <a:lnTo>
                    <a:pt x="1936750" y="1836523"/>
                  </a:lnTo>
                  <a:lnTo>
                    <a:pt x="1841500" y="1785723"/>
                  </a:lnTo>
                  <a:lnTo>
                    <a:pt x="1803400" y="1988923"/>
                  </a:lnTo>
                  <a:lnTo>
                    <a:pt x="1720850" y="2090523"/>
                  </a:lnTo>
                  <a:lnTo>
                    <a:pt x="1612900" y="2077823"/>
                  </a:lnTo>
                  <a:lnTo>
                    <a:pt x="1612900" y="2185773"/>
                  </a:lnTo>
                  <a:lnTo>
                    <a:pt x="1619250" y="2274673"/>
                  </a:lnTo>
                  <a:lnTo>
                    <a:pt x="1492250" y="2274673"/>
                  </a:lnTo>
                  <a:lnTo>
                    <a:pt x="1492250" y="2223873"/>
                  </a:lnTo>
                  <a:lnTo>
                    <a:pt x="1339850" y="2223873"/>
                  </a:lnTo>
                  <a:lnTo>
                    <a:pt x="1250950" y="2281023"/>
                  </a:lnTo>
                  <a:lnTo>
                    <a:pt x="1231900" y="2230223"/>
                  </a:lnTo>
                  <a:lnTo>
                    <a:pt x="1123950" y="2249273"/>
                  </a:lnTo>
                  <a:lnTo>
                    <a:pt x="1123950" y="2350873"/>
                  </a:lnTo>
                  <a:lnTo>
                    <a:pt x="1155700" y="2427073"/>
                  </a:lnTo>
                  <a:lnTo>
                    <a:pt x="1149350" y="2642973"/>
                  </a:lnTo>
                  <a:lnTo>
                    <a:pt x="1206500" y="2668373"/>
                  </a:lnTo>
                  <a:lnTo>
                    <a:pt x="1270000" y="2769973"/>
                  </a:lnTo>
                  <a:lnTo>
                    <a:pt x="1193800" y="2909673"/>
                  </a:lnTo>
                  <a:lnTo>
                    <a:pt x="1193800" y="3036673"/>
                  </a:lnTo>
                  <a:lnTo>
                    <a:pt x="1244600" y="3119223"/>
                  </a:lnTo>
                  <a:lnTo>
                    <a:pt x="1098550" y="3138273"/>
                  </a:lnTo>
                  <a:lnTo>
                    <a:pt x="1079500" y="3208123"/>
                  </a:lnTo>
                  <a:lnTo>
                    <a:pt x="952500" y="3271623"/>
                  </a:lnTo>
                  <a:lnTo>
                    <a:pt x="990600" y="3138273"/>
                  </a:lnTo>
                  <a:lnTo>
                    <a:pt x="933450" y="3100173"/>
                  </a:lnTo>
                  <a:lnTo>
                    <a:pt x="857250" y="3112873"/>
                  </a:lnTo>
                  <a:lnTo>
                    <a:pt x="850900" y="2973173"/>
                  </a:lnTo>
                  <a:lnTo>
                    <a:pt x="755650" y="2985873"/>
                  </a:lnTo>
                  <a:lnTo>
                    <a:pt x="762000" y="3093823"/>
                  </a:lnTo>
                  <a:lnTo>
                    <a:pt x="698500" y="3112873"/>
                  </a:lnTo>
                  <a:lnTo>
                    <a:pt x="584200" y="3049373"/>
                  </a:lnTo>
                  <a:lnTo>
                    <a:pt x="514350" y="2871573"/>
                  </a:lnTo>
                  <a:lnTo>
                    <a:pt x="635000" y="2757273"/>
                  </a:lnTo>
                  <a:lnTo>
                    <a:pt x="577850" y="2744573"/>
                  </a:lnTo>
                  <a:lnTo>
                    <a:pt x="533400" y="2598523"/>
                  </a:lnTo>
                  <a:lnTo>
                    <a:pt x="431800" y="2388973"/>
                  </a:lnTo>
                  <a:lnTo>
                    <a:pt x="241300" y="2414373"/>
                  </a:lnTo>
                  <a:lnTo>
                    <a:pt x="101600" y="2452473"/>
                  </a:lnTo>
                  <a:lnTo>
                    <a:pt x="0" y="2325473"/>
                  </a:lnTo>
                  <a:lnTo>
                    <a:pt x="57150" y="2242923"/>
                  </a:lnTo>
                  <a:lnTo>
                    <a:pt x="127000" y="2255623"/>
                  </a:lnTo>
                  <a:lnTo>
                    <a:pt x="82550" y="2160373"/>
                  </a:lnTo>
                  <a:lnTo>
                    <a:pt x="171450" y="2096873"/>
                  </a:lnTo>
                  <a:lnTo>
                    <a:pt x="247650" y="2103223"/>
                  </a:lnTo>
                  <a:lnTo>
                    <a:pt x="222250" y="2027023"/>
                  </a:lnTo>
                  <a:lnTo>
                    <a:pt x="336550" y="2027023"/>
                  </a:lnTo>
                  <a:lnTo>
                    <a:pt x="279400" y="1944473"/>
                  </a:lnTo>
                  <a:lnTo>
                    <a:pt x="139700" y="1830173"/>
                  </a:lnTo>
                  <a:lnTo>
                    <a:pt x="184150" y="1690473"/>
                  </a:lnTo>
                  <a:lnTo>
                    <a:pt x="228600" y="1595223"/>
                  </a:lnTo>
                  <a:lnTo>
                    <a:pt x="311150" y="1646023"/>
                  </a:lnTo>
                  <a:lnTo>
                    <a:pt x="317500" y="1538073"/>
                  </a:lnTo>
                  <a:lnTo>
                    <a:pt x="304800" y="1436473"/>
                  </a:lnTo>
                  <a:lnTo>
                    <a:pt x="297150" y="1428313"/>
                  </a:lnTo>
                  <a:lnTo>
                    <a:pt x="311151" y="1426313"/>
                  </a:lnTo>
                  <a:lnTo>
                    <a:pt x="273051" y="1289153"/>
                  </a:lnTo>
                  <a:lnTo>
                    <a:pt x="410211" y="1144373"/>
                  </a:lnTo>
                  <a:lnTo>
                    <a:pt x="509271" y="1197713"/>
                  </a:lnTo>
                  <a:lnTo>
                    <a:pt x="570231" y="1113893"/>
                  </a:lnTo>
                  <a:lnTo>
                    <a:pt x="638811" y="923393"/>
                  </a:lnTo>
                  <a:lnTo>
                    <a:pt x="638811" y="847193"/>
                  </a:lnTo>
                  <a:lnTo>
                    <a:pt x="821691" y="847193"/>
                  </a:lnTo>
                  <a:lnTo>
                    <a:pt x="890271" y="656693"/>
                  </a:lnTo>
                  <a:lnTo>
                    <a:pt x="836931" y="557633"/>
                  </a:lnTo>
                  <a:lnTo>
                    <a:pt x="737871" y="618593"/>
                  </a:lnTo>
                  <a:lnTo>
                    <a:pt x="661671" y="565253"/>
                  </a:lnTo>
                  <a:lnTo>
                    <a:pt x="821691" y="397613"/>
                  </a:lnTo>
                  <a:lnTo>
                    <a:pt x="1050291" y="397613"/>
                  </a:lnTo>
                  <a:lnTo>
                    <a:pt x="1042671" y="321413"/>
                  </a:lnTo>
                  <a:lnTo>
                    <a:pt x="1019811" y="245213"/>
                  </a:lnTo>
                  <a:lnTo>
                    <a:pt x="1118871" y="191873"/>
                  </a:lnTo>
                  <a:lnTo>
                    <a:pt x="1164591" y="222353"/>
                  </a:lnTo>
                  <a:lnTo>
                    <a:pt x="1179831" y="298553"/>
                  </a:lnTo>
                  <a:lnTo>
                    <a:pt x="1248411" y="283313"/>
                  </a:lnTo>
                  <a:lnTo>
                    <a:pt x="1469391" y="62333"/>
                  </a:lnTo>
                  <a:lnTo>
                    <a:pt x="1431291" y="31853"/>
                  </a:lnTo>
                  <a:lnTo>
                    <a:pt x="1522731" y="24233"/>
                  </a:lnTo>
                  <a:lnTo>
                    <a:pt x="1553888" y="0"/>
                  </a:lnTo>
                  <a:close/>
                </a:path>
              </a:pathLst>
            </a:custGeom>
            <a:solidFill>
              <a:srgbClr val="96AFE5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39" name="_Map_Rheinland Pfalz">
              <a:extLst>
                <a:ext uri="{FF2B5EF4-FFF2-40B4-BE49-F238E27FC236}">
                  <a16:creationId xmlns:a16="http://schemas.microsoft.com/office/drawing/2014/main" id="{D801A5E3-E893-4A66-8C32-6B03BF412198}"/>
                </a:ext>
              </a:extLst>
            </p:cNvPr>
            <p:cNvSpPr/>
            <p:nvPr>
              <p:custDataLst>
                <p:tags r:id="rId17"/>
              </p:custDataLst>
            </p:nvPr>
          </p:nvSpPr>
          <p:spPr bwMode="gray">
            <a:xfrm>
              <a:off x="5646449" y="4047465"/>
              <a:ext cx="967145" cy="1203489"/>
            </a:xfrm>
            <a:custGeom>
              <a:avLst/>
              <a:gdLst>
                <a:gd name="connsiteX0" fmla="*/ 1701117 w 2386916"/>
                <a:gd name="connsiteY0" fmla="*/ 0 h 2870199"/>
                <a:gd name="connsiteX1" fmla="*/ 1701117 w 2386916"/>
                <a:gd name="connsiteY1" fmla="*/ 38100 h 2870199"/>
                <a:gd name="connsiteX2" fmla="*/ 1784937 w 2386916"/>
                <a:gd name="connsiteY2" fmla="*/ 129540 h 2870199"/>
                <a:gd name="connsiteX3" fmla="*/ 1845897 w 2386916"/>
                <a:gd name="connsiteY3" fmla="*/ 167640 h 2870199"/>
                <a:gd name="connsiteX4" fmla="*/ 1838277 w 2386916"/>
                <a:gd name="connsiteY4" fmla="*/ 251460 h 2870199"/>
                <a:gd name="connsiteX5" fmla="*/ 1937337 w 2386916"/>
                <a:gd name="connsiteY5" fmla="*/ 373380 h 2870199"/>
                <a:gd name="connsiteX6" fmla="*/ 2030016 w 2386916"/>
                <a:gd name="connsiteY6" fmla="*/ 360140 h 2870199"/>
                <a:gd name="connsiteX7" fmla="*/ 2037666 w 2386916"/>
                <a:gd name="connsiteY7" fmla="*/ 368300 h 2870199"/>
                <a:gd name="connsiteX8" fmla="*/ 2050366 w 2386916"/>
                <a:gd name="connsiteY8" fmla="*/ 469900 h 2870199"/>
                <a:gd name="connsiteX9" fmla="*/ 2044016 w 2386916"/>
                <a:gd name="connsiteY9" fmla="*/ 577850 h 2870199"/>
                <a:gd name="connsiteX10" fmla="*/ 1961466 w 2386916"/>
                <a:gd name="connsiteY10" fmla="*/ 527050 h 2870199"/>
                <a:gd name="connsiteX11" fmla="*/ 1917016 w 2386916"/>
                <a:gd name="connsiteY11" fmla="*/ 622300 h 2870199"/>
                <a:gd name="connsiteX12" fmla="*/ 1872566 w 2386916"/>
                <a:gd name="connsiteY12" fmla="*/ 762000 h 2870199"/>
                <a:gd name="connsiteX13" fmla="*/ 2012266 w 2386916"/>
                <a:gd name="connsiteY13" fmla="*/ 876300 h 2870199"/>
                <a:gd name="connsiteX14" fmla="*/ 2069416 w 2386916"/>
                <a:gd name="connsiteY14" fmla="*/ 958850 h 2870199"/>
                <a:gd name="connsiteX15" fmla="*/ 1955116 w 2386916"/>
                <a:gd name="connsiteY15" fmla="*/ 958850 h 2870199"/>
                <a:gd name="connsiteX16" fmla="*/ 1980516 w 2386916"/>
                <a:gd name="connsiteY16" fmla="*/ 1035050 h 2870199"/>
                <a:gd name="connsiteX17" fmla="*/ 1904316 w 2386916"/>
                <a:gd name="connsiteY17" fmla="*/ 1028700 h 2870199"/>
                <a:gd name="connsiteX18" fmla="*/ 1815416 w 2386916"/>
                <a:gd name="connsiteY18" fmla="*/ 1092200 h 2870199"/>
                <a:gd name="connsiteX19" fmla="*/ 1859866 w 2386916"/>
                <a:gd name="connsiteY19" fmla="*/ 1187450 h 2870199"/>
                <a:gd name="connsiteX20" fmla="*/ 1790016 w 2386916"/>
                <a:gd name="connsiteY20" fmla="*/ 1174750 h 2870199"/>
                <a:gd name="connsiteX21" fmla="*/ 1732866 w 2386916"/>
                <a:gd name="connsiteY21" fmla="*/ 1257300 h 2870199"/>
                <a:gd name="connsiteX22" fmla="*/ 1834466 w 2386916"/>
                <a:gd name="connsiteY22" fmla="*/ 1384300 h 2870199"/>
                <a:gd name="connsiteX23" fmla="*/ 1974166 w 2386916"/>
                <a:gd name="connsiteY23" fmla="*/ 1346200 h 2870199"/>
                <a:gd name="connsiteX24" fmla="*/ 2164666 w 2386916"/>
                <a:gd name="connsiteY24" fmla="*/ 1320800 h 2870199"/>
                <a:gd name="connsiteX25" fmla="*/ 2266266 w 2386916"/>
                <a:gd name="connsiteY25" fmla="*/ 1530350 h 2870199"/>
                <a:gd name="connsiteX26" fmla="*/ 2310716 w 2386916"/>
                <a:gd name="connsiteY26" fmla="*/ 1676400 h 2870199"/>
                <a:gd name="connsiteX27" fmla="*/ 2367866 w 2386916"/>
                <a:gd name="connsiteY27" fmla="*/ 1689100 h 2870199"/>
                <a:gd name="connsiteX28" fmla="*/ 2247216 w 2386916"/>
                <a:gd name="connsiteY28" fmla="*/ 1803400 h 2870199"/>
                <a:gd name="connsiteX29" fmla="*/ 2317066 w 2386916"/>
                <a:gd name="connsiteY29" fmla="*/ 1981200 h 2870199"/>
                <a:gd name="connsiteX30" fmla="*/ 2348292 w 2386916"/>
                <a:gd name="connsiteY30" fmla="*/ 1998548 h 2870199"/>
                <a:gd name="connsiteX31" fmla="*/ 2323416 w 2386916"/>
                <a:gd name="connsiteY31" fmla="*/ 2012949 h 2870199"/>
                <a:gd name="connsiteX32" fmla="*/ 2329766 w 2386916"/>
                <a:gd name="connsiteY32" fmla="*/ 2171699 h 2870199"/>
                <a:gd name="connsiteX33" fmla="*/ 2386916 w 2386916"/>
                <a:gd name="connsiteY33" fmla="*/ 2197099 h 2870199"/>
                <a:gd name="connsiteX34" fmla="*/ 2329766 w 2386916"/>
                <a:gd name="connsiteY34" fmla="*/ 2349499 h 2870199"/>
                <a:gd name="connsiteX35" fmla="*/ 2374216 w 2386916"/>
                <a:gd name="connsiteY35" fmla="*/ 2419349 h 2870199"/>
                <a:gd name="connsiteX36" fmla="*/ 2266266 w 2386916"/>
                <a:gd name="connsiteY36" fmla="*/ 2527299 h 2870199"/>
                <a:gd name="connsiteX37" fmla="*/ 2304366 w 2386916"/>
                <a:gd name="connsiteY37" fmla="*/ 2546349 h 2870199"/>
                <a:gd name="connsiteX38" fmla="*/ 2215466 w 2386916"/>
                <a:gd name="connsiteY38" fmla="*/ 2736849 h 2870199"/>
                <a:gd name="connsiteX39" fmla="*/ 2139266 w 2386916"/>
                <a:gd name="connsiteY39" fmla="*/ 2870199 h 2870199"/>
                <a:gd name="connsiteX40" fmla="*/ 1859866 w 2386916"/>
                <a:gd name="connsiteY40" fmla="*/ 2768599 h 2870199"/>
                <a:gd name="connsiteX41" fmla="*/ 1721416 w 2386916"/>
                <a:gd name="connsiteY41" fmla="*/ 2811567 h 2870199"/>
                <a:gd name="connsiteX42" fmla="*/ 1697964 w 2386916"/>
                <a:gd name="connsiteY42" fmla="*/ 2801306 h 2870199"/>
                <a:gd name="connsiteX43" fmla="*/ 1424145 w 2386916"/>
                <a:gd name="connsiteY43" fmla="*/ 2824125 h 2870199"/>
                <a:gd name="connsiteX44" fmla="*/ 1332873 w 2386916"/>
                <a:gd name="connsiteY44" fmla="*/ 2710034 h 2870199"/>
                <a:gd name="connsiteX45" fmla="*/ 990600 w 2386916"/>
                <a:gd name="connsiteY45" fmla="*/ 2710034 h 2870199"/>
                <a:gd name="connsiteX46" fmla="*/ 922146 w 2386916"/>
                <a:gd name="connsiteY46" fmla="*/ 2527489 h 2870199"/>
                <a:gd name="connsiteX47" fmla="*/ 625512 w 2386916"/>
                <a:gd name="connsiteY47" fmla="*/ 2687217 h 2870199"/>
                <a:gd name="connsiteX48" fmla="*/ 488602 w 2386916"/>
                <a:gd name="connsiteY48" fmla="*/ 2299307 h 2870199"/>
                <a:gd name="connsiteX49" fmla="*/ 283239 w 2386916"/>
                <a:gd name="connsiteY49" fmla="*/ 2230852 h 2870199"/>
                <a:gd name="connsiteX50" fmla="*/ 259636 w 2386916"/>
                <a:gd name="connsiteY50" fmla="*/ 2219051 h 2870199"/>
                <a:gd name="connsiteX51" fmla="*/ 259636 w 2386916"/>
                <a:gd name="connsiteY51" fmla="*/ 2219050 h 2870199"/>
                <a:gd name="connsiteX52" fmla="*/ 259636 w 2386916"/>
                <a:gd name="connsiteY52" fmla="*/ 2179227 h 2870199"/>
                <a:gd name="connsiteX53" fmla="*/ 259636 w 2386916"/>
                <a:gd name="connsiteY53" fmla="*/ 2100790 h 2870199"/>
                <a:gd name="connsiteX54" fmla="*/ 259637 w 2386916"/>
                <a:gd name="connsiteY54" fmla="*/ 2100789 h 2870199"/>
                <a:gd name="connsiteX55" fmla="*/ 259637 w 2386916"/>
                <a:gd name="connsiteY55" fmla="*/ 2179226 h 2870199"/>
                <a:gd name="connsiteX56" fmla="*/ 259637 w 2386916"/>
                <a:gd name="connsiteY56" fmla="*/ 2219050 h 2870199"/>
                <a:gd name="connsiteX57" fmla="*/ 283240 w 2386916"/>
                <a:gd name="connsiteY57" fmla="*/ 2230851 h 2870199"/>
                <a:gd name="connsiteX58" fmla="*/ 488603 w 2386916"/>
                <a:gd name="connsiteY58" fmla="*/ 2299306 h 2870199"/>
                <a:gd name="connsiteX59" fmla="*/ 625513 w 2386916"/>
                <a:gd name="connsiteY59" fmla="*/ 2687216 h 2870199"/>
                <a:gd name="connsiteX60" fmla="*/ 922147 w 2386916"/>
                <a:gd name="connsiteY60" fmla="*/ 2527488 h 2870199"/>
                <a:gd name="connsiteX61" fmla="*/ 990601 w 2386916"/>
                <a:gd name="connsiteY61" fmla="*/ 2710033 h 2870199"/>
                <a:gd name="connsiteX62" fmla="*/ 1291542 w 2386916"/>
                <a:gd name="connsiteY62" fmla="*/ 2710033 h 2870199"/>
                <a:gd name="connsiteX63" fmla="*/ 1291542 w 2386916"/>
                <a:gd name="connsiteY63" fmla="*/ 2586036 h 2870199"/>
                <a:gd name="connsiteX64" fmla="*/ 1224867 w 2386916"/>
                <a:gd name="connsiteY64" fmla="*/ 2509836 h 2870199"/>
                <a:gd name="connsiteX65" fmla="*/ 1267729 w 2386916"/>
                <a:gd name="connsiteY65" fmla="*/ 2447923 h 2870199"/>
                <a:gd name="connsiteX66" fmla="*/ 1334404 w 2386916"/>
                <a:gd name="connsiteY66" fmla="*/ 2414586 h 2870199"/>
                <a:gd name="connsiteX67" fmla="*/ 1348692 w 2386916"/>
                <a:gd name="connsiteY67" fmla="*/ 2300286 h 2870199"/>
                <a:gd name="connsiteX68" fmla="*/ 1277254 w 2386916"/>
                <a:gd name="connsiteY68" fmla="*/ 2290761 h 2870199"/>
                <a:gd name="connsiteX69" fmla="*/ 1191529 w 2386916"/>
                <a:gd name="connsiteY69" fmla="*/ 2181223 h 2870199"/>
                <a:gd name="connsiteX70" fmla="*/ 1272492 w 2386916"/>
                <a:gd name="connsiteY70" fmla="*/ 2100261 h 2870199"/>
                <a:gd name="connsiteX71" fmla="*/ 1205817 w 2386916"/>
                <a:gd name="connsiteY71" fmla="*/ 2014536 h 2870199"/>
                <a:gd name="connsiteX72" fmla="*/ 1120092 w 2386916"/>
                <a:gd name="connsiteY72" fmla="*/ 1952623 h 2870199"/>
                <a:gd name="connsiteX73" fmla="*/ 1034367 w 2386916"/>
                <a:gd name="connsiteY73" fmla="*/ 1943098 h 2870199"/>
                <a:gd name="connsiteX74" fmla="*/ 924829 w 2386916"/>
                <a:gd name="connsiteY74" fmla="*/ 1900236 h 2870199"/>
                <a:gd name="connsiteX75" fmla="*/ 662892 w 2386916"/>
                <a:gd name="connsiteY75" fmla="*/ 2047873 h 2870199"/>
                <a:gd name="connsiteX76" fmla="*/ 586692 w 2386916"/>
                <a:gd name="connsiteY76" fmla="*/ 2085973 h 2870199"/>
                <a:gd name="connsiteX77" fmla="*/ 310792 w 2386916"/>
                <a:gd name="connsiteY77" fmla="*/ 2055318 h 2870199"/>
                <a:gd name="connsiteX78" fmla="*/ 330230 w 2386916"/>
                <a:gd name="connsiteY78" fmla="*/ 2038040 h 2870199"/>
                <a:gd name="connsiteX79" fmla="*/ 267480 w 2386916"/>
                <a:gd name="connsiteY79" fmla="*/ 1975290 h 2870199"/>
                <a:gd name="connsiteX80" fmla="*/ 322386 w 2386916"/>
                <a:gd name="connsiteY80" fmla="*/ 1967446 h 2870199"/>
                <a:gd name="connsiteX81" fmla="*/ 369448 w 2386916"/>
                <a:gd name="connsiteY81" fmla="*/ 1904696 h 2870199"/>
                <a:gd name="connsiteX82" fmla="*/ 353761 w 2386916"/>
                <a:gd name="connsiteY82" fmla="*/ 1802728 h 2870199"/>
                <a:gd name="connsiteX83" fmla="*/ 141980 w 2386916"/>
                <a:gd name="connsiteY83" fmla="*/ 1653697 h 2870199"/>
                <a:gd name="connsiteX84" fmla="*/ 87074 w 2386916"/>
                <a:gd name="connsiteY84" fmla="*/ 1520353 h 2870199"/>
                <a:gd name="connsiteX85" fmla="*/ 8637 w 2386916"/>
                <a:gd name="connsiteY85" fmla="*/ 1363478 h 2870199"/>
                <a:gd name="connsiteX86" fmla="*/ 13351 w 2386916"/>
                <a:gd name="connsiteY86" fmla="*/ 1259803 h 2870199"/>
                <a:gd name="connsiteX87" fmla="*/ 0 w 2386916"/>
                <a:gd name="connsiteY87" fmla="*/ 1252520 h 2870199"/>
                <a:gd name="connsiteX88" fmla="*/ 16481 w 2386916"/>
                <a:gd name="connsiteY88" fmla="*/ 1261510 h 2870199"/>
                <a:gd name="connsiteX89" fmla="*/ 79230 w 2386916"/>
                <a:gd name="connsiteY89" fmla="*/ 1136010 h 2870199"/>
                <a:gd name="connsiteX90" fmla="*/ 204730 w 2386916"/>
                <a:gd name="connsiteY90" fmla="*/ 1034041 h 2870199"/>
                <a:gd name="connsiteX91" fmla="*/ 283167 w 2386916"/>
                <a:gd name="connsiteY91" fmla="*/ 979135 h 2870199"/>
                <a:gd name="connsiteX92" fmla="*/ 267480 w 2386916"/>
                <a:gd name="connsiteY92" fmla="*/ 869323 h 2870199"/>
                <a:gd name="connsiteX93" fmla="*/ 267480 w 2386916"/>
                <a:gd name="connsiteY93" fmla="*/ 771161 h 2870199"/>
                <a:gd name="connsiteX94" fmla="*/ 267481 w 2386916"/>
                <a:gd name="connsiteY94" fmla="*/ 771159 h 2870199"/>
                <a:gd name="connsiteX95" fmla="*/ 267481 w 2386916"/>
                <a:gd name="connsiteY95" fmla="*/ 869324 h 2870199"/>
                <a:gd name="connsiteX96" fmla="*/ 279604 w 2386916"/>
                <a:gd name="connsiteY96" fmla="*/ 954186 h 2870199"/>
                <a:gd name="connsiteX97" fmla="*/ 428577 w 2386916"/>
                <a:gd name="connsiteY97" fmla="*/ 899160 h 2870199"/>
                <a:gd name="connsiteX98" fmla="*/ 657177 w 2386916"/>
                <a:gd name="connsiteY98" fmla="*/ 906780 h 2870199"/>
                <a:gd name="connsiteX99" fmla="*/ 725757 w 2386916"/>
                <a:gd name="connsiteY99" fmla="*/ 891540 h 2870199"/>
                <a:gd name="connsiteX100" fmla="*/ 695277 w 2386916"/>
                <a:gd name="connsiteY100" fmla="*/ 731520 h 2870199"/>
                <a:gd name="connsiteX101" fmla="*/ 740997 w 2386916"/>
                <a:gd name="connsiteY101" fmla="*/ 670560 h 2870199"/>
                <a:gd name="connsiteX102" fmla="*/ 763857 w 2386916"/>
                <a:gd name="connsiteY102" fmla="*/ 716280 h 2870199"/>
                <a:gd name="connsiteX103" fmla="*/ 832437 w 2386916"/>
                <a:gd name="connsiteY103" fmla="*/ 716280 h 2870199"/>
                <a:gd name="connsiteX104" fmla="*/ 809577 w 2386916"/>
                <a:gd name="connsiteY104" fmla="*/ 601980 h 2870199"/>
                <a:gd name="connsiteX105" fmla="*/ 984837 w 2386916"/>
                <a:gd name="connsiteY105" fmla="*/ 556260 h 2870199"/>
                <a:gd name="connsiteX106" fmla="*/ 1129617 w 2386916"/>
                <a:gd name="connsiteY106" fmla="*/ 419100 h 2870199"/>
                <a:gd name="connsiteX107" fmla="*/ 1137237 w 2386916"/>
                <a:gd name="connsiteY107" fmla="*/ 472440 h 2870199"/>
                <a:gd name="connsiteX108" fmla="*/ 1274397 w 2386916"/>
                <a:gd name="connsiteY108" fmla="*/ 457200 h 2870199"/>
                <a:gd name="connsiteX109" fmla="*/ 1274397 w 2386916"/>
                <a:gd name="connsiteY109" fmla="*/ 350520 h 2870199"/>
                <a:gd name="connsiteX110" fmla="*/ 1495377 w 2386916"/>
                <a:gd name="connsiteY110" fmla="*/ 304800 h 2870199"/>
                <a:gd name="connsiteX111" fmla="*/ 1663017 w 2386916"/>
                <a:gd name="connsiteY111" fmla="*/ 129540 h 2870199"/>
                <a:gd name="connsiteX112" fmla="*/ 1632537 w 2386916"/>
                <a:gd name="connsiteY112" fmla="*/ 22860 h 2870199"/>
                <a:gd name="connsiteX0" fmla="*/ 1701117 w 2386916"/>
                <a:gd name="connsiteY0" fmla="*/ 0 h 2870199"/>
                <a:gd name="connsiteX1" fmla="*/ 1701117 w 2386916"/>
                <a:gd name="connsiteY1" fmla="*/ 38100 h 2870199"/>
                <a:gd name="connsiteX2" fmla="*/ 1784937 w 2386916"/>
                <a:gd name="connsiteY2" fmla="*/ 129540 h 2870199"/>
                <a:gd name="connsiteX3" fmla="*/ 1845897 w 2386916"/>
                <a:gd name="connsiteY3" fmla="*/ 167640 h 2870199"/>
                <a:gd name="connsiteX4" fmla="*/ 1838277 w 2386916"/>
                <a:gd name="connsiteY4" fmla="*/ 251460 h 2870199"/>
                <a:gd name="connsiteX5" fmla="*/ 1937337 w 2386916"/>
                <a:gd name="connsiteY5" fmla="*/ 373380 h 2870199"/>
                <a:gd name="connsiteX6" fmla="*/ 2030016 w 2386916"/>
                <a:gd name="connsiteY6" fmla="*/ 360140 h 2870199"/>
                <a:gd name="connsiteX7" fmla="*/ 2037666 w 2386916"/>
                <a:gd name="connsiteY7" fmla="*/ 368300 h 2870199"/>
                <a:gd name="connsiteX8" fmla="*/ 2050366 w 2386916"/>
                <a:gd name="connsiteY8" fmla="*/ 469900 h 2870199"/>
                <a:gd name="connsiteX9" fmla="*/ 2044016 w 2386916"/>
                <a:gd name="connsiteY9" fmla="*/ 577850 h 2870199"/>
                <a:gd name="connsiteX10" fmla="*/ 1961466 w 2386916"/>
                <a:gd name="connsiteY10" fmla="*/ 527050 h 2870199"/>
                <a:gd name="connsiteX11" fmla="*/ 1917016 w 2386916"/>
                <a:gd name="connsiteY11" fmla="*/ 622300 h 2870199"/>
                <a:gd name="connsiteX12" fmla="*/ 1872566 w 2386916"/>
                <a:gd name="connsiteY12" fmla="*/ 762000 h 2870199"/>
                <a:gd name="connsiteX13" fmla="*/ 2012266 w 2386916"/>
                <a:gd name="connsiteY13" fmla="*/ 876300 h 2870199"/>
                <a:gd name="connsiteX14" fmla="*/ 2069416 w 2386916"/>
                <a:gd name="connsiteY14" fmla="*/ 958850 h 2870199"/>
                <a:gd name="connsiteX15" fmla="*/ 1955116 w 2386916"/>
                <a:gd name="connsiteY15" fmla="*/ 958850 h 2870199"/>
                <a:gd name="connsiteX16" fmla="*/ 1980516 w 2386916"/>
                <a:gd name="connsiteY16" fmla="*/ 1035050 h 2870199"/>
                <a:gd name="connsiteX17" fmla="*/ 1904316 w 2386916"/>
                <a:gd name="connsiteY17" fmla="*/ 1028700 h 2870199"/>
                <a:gd name="connsiteX18" fmla="*/ 1815416 w 2386916"/>
                <a:gd name="connsiteY18" fmla="*/ 1092200 h 2870199"/>
                <a:gd name="connsiteX19" fmla="*/ 1859866 w 2386916"/>
                <a:gd name="connsiteY19" fmla="*/ 1187450 h 2870199"/>
                <a:gd name="connsiteX20" fmla="*/ 1790016 w 2386916"/>
                <a:gd name="connsiteY20" fmla="*/ 1174750 h 2870199"/>
                <a:gd name="connsiteX21" fmla="*/ 1732866 w 2386916"/>
                <a:gd name="connsiteY21" fmla="*/ 1257300 h 2870199"/>
                <a:gd name="connsiteX22" fmla="*/ 1834466 w 2386916"/>
                <a:gd name="connsiteY22" fmla="*/ 1384300 h 2870199"/>
                <a:gd name="connsiteX23" fmla="*/ 1974166 w 2386916"/>
                <a:gd name="connsiteY23" fmla="*/ 1346200 h 2870199"/>
                <a:gd name="connsiteX24" fmla="*/ 2164666 w 2386916"/>
                <a:gd name="connsiteY24" fmla="*/ 1320800 h 2870199"/>
                <a:gd name="connsiteX25" fmla="*/ 2266266 w 2386916"/>
                <a:gd name="connsiteY25" fmla="*/ 1530350 h 2870199"/>
                <a:gd name="connsiteX26" fmla="*/ 2310716 w 2386916"/>
                <a:gd name="connsiteY26" fmla="*/ 1676400 h 2870199"/>
                <a:gd name="connsiteX27" fmla="*/ 2367866 w 2386916"/>
                <a:gd name="connsiteY27" fmla="*/ 1689100 h 2870199"/>
                <a:gd name="connsiteX28" fmla="*/ 2247216 w 2386916"/>
                <a:gd name="connsiteY28" fmla="*/ 1803400 h 2870199"/>
                <a:gd name="connsiteX29" fmla="*/ 2317066 w 2386916"/>
                <a:gd name="connsiteY29" fmla="*/ 1981200 h 2870199"/>
                <a:gd name="connsiteX30" fmla="*/ 2348292 w 2386916"/>
                <a:gd name="connsiteY30" fmla="*/ 1998548 h 2870199"/>
                <a:gd name="connsiteX31" fmla="*/ 2323416 w 2386916"/>
                <a:gd name="connsiteY31" fmla="*/ 2012949 h 2870199"/>
                <a:gd name="connsiteX32" fmla="*/ 2329766 w 2386916"/>
                <a:gd name="connsiteY32" fmla="*/ 2171699 h 2870199"/>
                <a:gd name="connsiteX33" fmla="*/ 2386916 w 2386916"/>
                <a:gd name="connsiteY33" fmla="*/ 2197099 h 2870199"/>
                <a:gd name="connsiteX34" fmla="*/ 2329766 w 2386916"/>
                <a:gd name="connsiteY34" fmla="*/ 2349499 h 2870199"/>
                <a:gd name="connsiteX35" fmla="*/ 2374216 w 2386916"/>
                <a:gd name="connsiteY35" fmla="*/ 2419349 h 2870199"/>
                <a:gd name="connsiteX36" fmla="*/ 2266266 w 2386916"/>
                <a:gd name="connsiteY36" fmla="*/ 2527299 h 2870199"/>
                <a:gd name="connsiteX37" fmla="*/ 2304366 w 2386916"/>
                <a:gd name="connsiteY37" fmla="*/ 2546349 h 2870199"/>
                <a:gd name="connsiteX38" fmla="*/ 2215466 w 2386916"/>
                <a:gd name="connsiteY38" fmla="*/ 2736849 h 2870199"/>
                <a:gd name="connsiteX39" fmla="*/ 2139266 w 2386916"/>
                <a:gd name="connsiteY39" fmla="*/ 2870199 h 2870199"/>
                <a:gd name="connsiteX40" fmla="*/ 1721416 w 2386916"/>
                <a:gd name="connsiteY40" fmla="*/ 2811567 h 2870199"/>
                <a:gd name="connsiteX41" fmla="*/ 1697964 w 2386916"/>
                <a:gd name="connsiteY41" fmla="*/ 2801306 h 2870199"/>
                <a:gd name="connsiteX42" fmla="*/ 1424145 w 2386916"/>
                <a:gd name="connsiteY42" fmla="*/ 2824125 h 2870199"/>
                <a:gd name="connsiteX43" fmla="*/ 1332873 w 2386916"/>
                <a:gd name="connsiteY43" fmla="*/ 2710034 h 2870199"/>
                <a:gd name="connsiteX44" fmla="*/ 990600 w 2386916"/>
                <a:gd name="connsiteY44" fmla="*/ 2710034 h 2870199"/>
                <a:gd name="connsiteX45" fmla="*/ 922146 w 2386916"/>
                <a:gd name="connsiteY45" fmla="*/ 2527489 h 2870199"/>
                <a:gd name="connsiteX46" fmla="*/ 625512 w 2386916"/>
                <a:gd name="connsiteY46" fmla="*/ 2687217 h 2870199"/>
                <a:gd name="connsiteX47" fmla="*/ 488602 w 2386916"/>
                <a:gd name="connsiteY47" fmla="*/ 2299307 h 2870199"/>
                <a:gd name="connsiteX48" fmla="*/ 283239 w 2386916"/>
                <a:gd name="connsiteY48" fmla="*/ 2230852 h 2870199"/>
                <a:gd name="connsiteX49" fmla="*/ 259636 w 2386916"/>
                <a:gd name="connsiteY49" fmla="*/ 2219051 h 2870199"/>
                <a:gd name="connsiteX50" fmla="*/ 259636 w 2386916"/>
                <a:gd name="connsiteY50" fmla="*/ 2219050 h 2870199"/>
                <a:gd name="connsiteX51" fmla="*/ 259636 w 2386916"/>
                <a:gd name="connsiteY51" fmla="*/ 2179227 h 2870199"/>
                <a:gd name="connsiteX52" fmla="*/ 259636 w 2386916"/>
                <a:gd name="connsiteY52" fmla="*/ 2100790 h 2870199"/>
                <a:gd name="connsiteX53" fmla="*/ 259637 w 2386916"/>
                <a:gd name="connsiteY53" fmla="*/ 2100789 h 2870199"/>
                <a:gd name="connsiteX54" fmla="*/ 259637 w 2386916"/>
                <a:gd name="connsiteY54" fmla="*/ 2179226 h 2870199"/>
                <a:gd name="connsiteX55" fmla="*/ 259637 w 2386916"/>
                <a:gd name="connsiteY55" fmla="*/ 2219050 h 2870199"/>
                <a:gd name="connsiteX56" fmla="*/ 283240 w 2386916"/>
                <a:gd name="connsiteY56" fmla="*/ 2230851 h 2870199"/>
                <a:gd name="connsiteX57" fmla="*/ 488603 w 2386916"/>
                <a:gd name="connsiteY57" fmla="*/ 2299306 h 2870199"/>
                <a:gd name="connsiteX58" fmla="*/ 625513 w 2386916"/>
                <a:gd name="connsiteY58" fmla="*/ 2687216 h 2870199"/>
                <a:gd name="connsiteX59" fmla="*/ 922147 w 2386916"/>
                <a:gd name="connsiteY59" fmla="*/ 2527488 h 2870199"/>
                <a:gd name="connsiteX60" fmla="*/ 990601 w 2386916"/>
                <a:gd name="connsiteY60" fmla="*/ 2710033 h 2870199"/>
                <a:gd name="connsiteX61" fmla="*/ 1291542 w 2386916"/>
                <a:gd name="connsiteY61" fmla="*/ 2710033 h 2870199"/>
                <a:gd name="connsiteX62" fmla="*/ 1291542 w 2386916"/>
                <a:gd name="connsiteY62" fmla="*/ 2586036 h 2870199"/>
                <a:gd name="connsiteX63" fmla="*/ 1224867 w 2386916"/>
                <a:gd name="connsiteY63" fmla="*/ 2509836 h 2870199"/>
                <a:gd name="connsiteX64" fmla="*/ 1267729 w 2386916"/>
                <a:gd name="connsiteY64" fmla="*/ 2447923 h 2870199"/>
                <a:gd name="connsiteX65" fmla="*/ 1334404 w 2386916"/>
                <a:gd name="connsiteY65" fmla="*/ 2414586 h 2870199"/>
                <a:gd name="connsiteX66" fmla="*/ 1348692 w 2386916"/>
                <a:gd name="connsiteY66" fmla="*/ 2300286 h 2870199"/>
                <a:gd name="connsiteX67" fmla="*/ 1277254 w 2386916"/>
                <a:gd name="connsiteY67" fmla="*/ 2290761 h 2870199"/>
                <a:gd name="connsiteX68" fmla="*/ 1191529 w 2386916"/>
                <a:gd name="connsiteY68" fmla="*/ 2181223 h 2870199"/>
                <a:gd name="connsiteX69" fmla="*/ 1272492 w 2386916"/>
                <a:gd name="connsiteY69" fmla="*/ 2100261 h 2870199"/>
                <a:gd name="connsiteX70" fmla="*/ 1205817 w 2386916"/>
                <a:gd name="connsiteY70" fmla="*/ 2014536 h 2870199"/>
                <a:gd name="connsiteX71" fmla="*/ 1120092 w 2386916"/>
                <a:gd name="connsiteY71" fmla="*/ 1952623 h 2870199"/>
                <a:gd name="connsiteX72" fmla="*/ 1034367 w 2386916"/>
                <a:gd name="connsiteY72" fmla="*/ 1943098 h 2870199"/>
                <a:gd name="connsiteX73" fmla="*/ 924829 w 2386916"/>
                <a:gd name="connsiteY73" fmla="*/ 1900236 h 2870199"/>
                <a:gd name="connsiteX74" fmla="*/ 662892 w 2386916"/>
                <a:gd name="connsiteY74" fmla="*/ 2047873 h 2870199"/>
                <a:gd name="connsiteX75" fmla="*/ 586692 w 2386916"/>
                <a:gd name="connsiteY75" fmla="*/ 2085973 h 2870199"/>
                <a:gd name="connsiteX76" fmla="*/ 310792 w 2386916"/>
                <a:gd name="connsiteY76" fmla="*/ 2055318 h 2870199"/>
                <a:gd name="connsiteX77" fmla="*/ 330230 w 2386916"/>
                <a:gd name="connsiteY77" fmla="*/ 2038040 h 2870199"/>
                <a:gd name="connsiteX78" fmla="*/ 267480 w 2386916"/>
                <a:gd name="connsiteY78" fmla="*/ 1975290 h 2870199"/>
                <a:gd name="connsiteX79" fmla="*/ 322386 w 2386916"/>
                <a:gd name="connsiteY79" fmla="*/ 1967446 h 2870199"/>
                <a:gd name="connsiteX80" fmla="*/ 369448 w 2386916"/>
                <a:gd name="connsiteY80" fmla="*/ 1904696 h 2870199"/>
                <a:gd name="connsiteX81" fmla="*/ 353761 w 2386916"/>
                <a:gd name="connsiteY81" fmla="*/ 1802728 h 2870199"/>
                <a:gd name="connsiteX82" fmla="*/ 141980 w 2386916"/>
                <a:gd name="connsiteY82" fmla="*/ 1653697 h 2870199"/>
                <a:gd name="connsiteX83" fmla="*/ 87074 w 2386916"/>
                <a:gd name="connsiteY83" fmla="*/ 1520353 h 2870199"/>
                <a:gd name="connsiteX84" fmla="*/ 8637 w 2386916"/>
                <a:gd name="connsiteY84" fmla="*/ 1363478 h 2870199"/>
                <a:gd name="connsiteX85" fmla="*/ 13351 w 2386916"/>
                <a:gd name="connsiteY85" fmla="*/ 1259803 h 2870199"/>
                <a:gd name="connsiteX86" fmla="*/ 0 w 2386916"/>
                <a:gd name="connsiteY86" fmla="*/ 1252520 h 2870199"/>
                <a:gd name="connsiteX87" fmla="*/ 16481 w 2386916"/>
                <a:gd name="connsiteY87" fmla="*/ 1261510 h 2870199"/>
                <a:gd name="connsiteX88" fmla="*/ 79230 w 2386916"/>
                <a:gd name="connsiteY88" fmla="*/ 1136010 h 2870199"/>
                <a:gd name="connsiteX89" fmla="*/ 204730 w 2386916"/>
                <a:gd name="connsiteY89" fmla="*/ 1034041 h 2870199"/>
                <a:gd name="connsiteX90" fmla="*/ 283167 w 2386916"/>
                <a:gd name="connsiteY90" fmla="*/ 979135 h 2870199"/>
                <a:gd name="connsiteX91" fmla="*/ 267480 w 2386916"/>
                <a:gd name="connsiteY91" fmla="*/ 869323 h 2870199"/>
                <a:gd name="connsiteX92" fmla="*/ 267480 w 2386916"/>
                <a:gd name="connsiteY92" fmla="*/ 771161 h 2870199"/>
                <a:gd name="connsiteX93" fmla="*/ 267481 w 2386916"/>
                <a:gd name="connsiteY93" fmla="*/ 771159 h 2870199"/>
                <a:gd name="connsiteX94" fmla="*/ 267481 w 2386916"/>
                <a:gd name="connsiteY94" fmla="*/ 869324 h 2870199"/>
                <a:gd name="connsiteX95" fmla="*/ 279604 w 2386916"/>
                <a:gd name="connsiteY95" fmla="*/ 954186 h 2870199"/>
                <a:gd name="connsiteX96" fmla="*/ 428577 w 2386916"/>
                <a:gd name="connsiteY96" fmla="*/ 899160 h 2870199"/>
                <a:gd name="connsiteX97" fmla="*/ 657177 w 2386916"/>
                <a:gd name="connsiteY97" fmla="*/ 906780 h 2870199"/>
                <a:gd name="connsiteX98" fmla="*/ 725757 w 2386916"/>
                <a:gd name="connsiteY98" fmla="*/ 891540 h 2870199"/>
                <a:gd name="connsiteX99" fmla="*/ 695277 w 2386916"/>
                <a:gd name="connsiteY99" fmla="*/ 731520 h 2870199"/>
                <a:gd name="connsiteX100" fmla="*/ 740997 w 2386916"/>
                <a:gd name="connsiteY100" fmla="*/ 670560 h 2870199"/>
                <a:gd name="connsiteX101" fmla="*/ 763857 w 2386916"/>
                <a:gd name="connsiteY101" fmla="*/ 716280 h 2870199"/>
                <a:gd name="connsiteX102" fmla="*/ 832437 w 2386916"/>
                <a:gd name="connsiteY102" fmla="*/ 716280 h 2870199"/>
                <a:gd name="connsiteX103" fmla="*/ 809577 w 2386916"/>
                <a:gd name="connsiteY103" fmla="*/ 601980 h 2870199"/>
                <a:gd name="connsiteX104" fmla="*/ 984837 w 2386916"/>
                <a:gd name="connsiteY104" fmla="*/ 556260 h 2870199"/>
                <a:gd name="connsiteX105" fmla="*/ 1129617 w 2386916"/>
                <a:gd name="connsiteY105" fmla="*/ 419100 h 2870199"/>
                <a:gd name="connsiteX106" fmla="*/ 1137237 w 2386916"/>
                <a:gd name="connsiteY106" fmla="*/ 472440 h 2870199"/>
                <a:gd name="connsiteX107" fmla="*/ 1274397 w 2386916"/>
                <a:gd name="connsiteY107" fmla="*/ 457200 h 2870199"/>
                <a:gd name="connsiteX108" fmla="*/ 1274397 w 2386916"/>
                <a:gd name="connsiteY108" fmla="*/ 350520 h 2870199"/>
                <a:gd name="connsiteX109" fmla="*/ 1495377 w 2386916"/>
                <a:gd name="connsiteY109" fmla="*/ 304800 h 2870199"/>
                <a:gd name="connsiteX110" fmla="*/ 1663017 w 2386916"/>
                <a:gd name="connsiteY110" fmla="*/ 129540 h 2870199"/>
                <a:gd name="connsiteX111" fmla="*/ 1632537 w 2386916"/>
                <a:gd name="connsiteY111" fmla="*/ 22860 h 2870199"/>
                <a:gd name="connsiteX112" fmla="*/ 1701117 w 2386916"/>
                <a:gd name="connsiteY112" fmla="*/ 0 h 2870199"/>
                <a:gd name="connsiteX0" fmla="*/ 1701117 w 2386916"/>
                <a:gd name="connsiteY0" fmla="*/ 0 h 2870199"/>
                <a:gd name="connsiteX1" fmla="*/ 1701117 w 2386916"/>
                <a:gd name="connsiteY1" fmla="*/ 38100 h 2870199"/>
                <a:gd name="connsiteX2" fmla="*/ 1784937 w 2386916"/>
                <a:gd name="connsiteY2" fmla="*/ 129540 h 2870199"/>
                <a:gd name="connsiteX3" fmla="*/ 1845897 w 2386916"/>
                <a:gd name="connsiteY3" fmla="*/ 167640 h 2870199"/>
                <a:gd name="connsiteX4" fmla="*/ 1838277 w 2386916"/>
                <a:gd name="connsiteY4" fmla="*/ 251460 h 2870199"/>
                <a:gd name="connsiteX5" fmla="*/ 1937337 w 2386916"/>
                <a:gd name="connsiteY5" fmla="*/ 373380 h 2870199"/>
                <a:gd name="connsiteX6" fmla="*/ 2030016 w 2386916"/>
                <a:gd name="connsiteY6" fmla="*/ 360140 h 2870199"/>
                <a:gd name="connsiteX7" fmla="*/ 2037666 w 2386916"/>
                <a:gd name="connsiteY7" fmla="*/ 368300 h 2870199"/>
                <a:gd name="connsiteX8" fmla="*/ 2050366 w 2386916"/>
                <a:gd name="connsiteY8" fmla="*/ 469900 h 2870199"/>
                <a:gd name="connsiteX9" fmla="*/ 2044016 w 2386916"/>
                <a:gd name="connsiteY9" fmla="*/ 577850 h 2870199"/>
                <a:gd name="connsiteX10" fmla="*/ 1961466 w 2386916"/>
                <a:gd name="connsiteY10" fmla="*/ 527050 h 2870199"/>
                <a:gd name="connsiteX11" fmla="*/ 1917016 w 2386916"/>
                <a:gd name="connsiteY11" fmla="*/ 622300 h 2870199"/>
                <a:gd name="connsiteX12" fmla="*/ 1872566 w 2386916"/>
                <a:gd name="connsiteY12" fmla="*/ 762000 h 2870199"/>
                <a:gd name="connsiteX13" fmla="*/ 2012266 w 2386916"/>
                <a:gd name="connsiteY13" fmla="*/ 876300 h 2870199"/>
                <a:gd name="connsiteX14" fmla="*/ 2069416 w 2386916"/>
                <a:gd name="connsiteY14" fmla="*/ 958850 h 2870199"/>
                <a:gd name="connsiteX15" fmla="*/ 1955116 w 2386916"/>
                <a:gd name="connsiteY15" fmla="*/ 958850 h 2870199"/>
                <a:gd name="connsiteX16" fmla="*/ 1980516 w 2386916"/>
                <a:gd name="connsiteY16" fmla="*/ 1035050 h 2870199"/>
                <a:gd name="connsiteX17" fmla="*/ 1904316 w 2386916"/>
                <a:gd name="connsiteY17" fmla="*/ 1028700 h 2870199"/>
                <a:gd name="connsiteX18" fmla="*/ 1815416 w 2386916"/>
                <a:gd name="connsiteY18" fmla="*/ 1092200 h 2870199"/>
                <a:gd name="connsiteX19" fmla="*/ 1859866 w 2386916"/>
                <a:gd name="connsiteY19" fmla="*/ 1187450 h 2870199"/>
                <a:gd name="connsiteX20" fmla="*/ 1790016 w 2386916"/>
                <a:gd name="connsiteY20" fmla="*/ 1174750 h 2870199"/>
                <a:gd name="connsiteX21" fmla="*/ 1732866 w 2386916"/>
                <a:gd name="connsiteY21" fmla="*/ 1257300 h 2870199"/>
                <a:gd name="connsiteX22" fmla="*/ 1834466 w 2386916"/>
                <a:gd name="connsiteY22" fmla="*/ 1384300 h 2870199"/>
                <a:gd name="connsiteX23" fmla="*/ 1974166 w 2386916"/>
                <a:gd name="connsiteY23" fmla="*/ 1346200 h 2870199"/>
                <a:gd name="connsiteX24" fmla="*/ 2164666 w 2386916"/>
                <a:gd name="connsiteY24" fmla="*/ 1320800 h 2870199"/>
                <a:gd name="connsiteX25" fmla="*/ 2266266 w 2386916"/>
                <a:gd name="connsiteY25" fmla="*/ 1530350 h 2870199"/>
                <a:gd name="connsiteX26" fmla="*/ 2310716 w 2386916"/>
                <a:gd name="connsiteY26" fmla="*/ 1676400 h 2870199"/>
                <a:gd name="connsiteX27" fmla="*/ 2367866 w 2386916"/>
                <a:gd name="connsiteY27" fmla="*/ 1689100 h 2870199"/>
                <a:gd name="connsiteX28" fmla="*/ 2247216 w 2386916"/>
                <a:gd name="connsiteY28" fmla="*/ 1803400 h 2870199"/>
                <a:gd name="connsiteX29" fmla="*/ 2317066 w 2386916"/>
                <a:gd name="connsiteY29" fmla="*/ 1981200 h 2870199"/>
                <a:gd name="connsiteX30" fmla="*/ 2348292 w 2386916"/>
                <a:gd name="connsiteY30" fmla="*/ 1998548 h 2870199"/>
                <a:gd name="connsiteX31" fmla="*/ 2323416 w 2386916"/>
                <a:gd name="connsiteY31" fmla="*/ 2012949 h 2870199"/>
                <a:gd name="connsiteX32" fmla="*/ 2329766 w 2386916"/>
                <a:gd name="connsiteY32" fmla="*/ 2171699 h 2870199"/>
                <a:gd name="connsiteX33" fmla="*/ 2386916 w 2386916"/>
                <a:gd name="connsiteY33" fmla="*/ 2197099 h 2870199"/>
                <a:gd name="connsiteX34" fmla="*/ 2329766 w 2386916"/>
                <a:gd name="connsiteY34" fmla="*/ 2349499 h 2870199"/>
                <a:gd name="connsiteX35" fmla="*/ 2374216 w 2386916"/>
                <a:gd name="connsiteY35" fmla="*/ 2419349 h 2870199"/>
                <a:gd name="connsiteX36" fmla="*/ 2266266 w 2386916"/>
                <a:gd name="connsiteY36" fmla="*/ 2527299 h 2870199"/>
                <a:gd name="connsiteX37" fmla="*/ 2304366 w 2386916"/>
                <a:gd name="connsiteY37" fmla="*/ 2546349 h 2870199"/>
                <a:gd name="connsiteX38" fmla="*/ 2215466 w 2386916"/>
                <a:gd name="connsiteY38" fmla="*/ 2736849 h 2870199"/>
                <a:gd name="connsiteX39" fmla="*/ 2139266 w 2386916"/>
                <a:gd name="connsiteY39" fmla="*/ 2870199 h 2870199"/>
                <a:gd name="connsiteX40" fmla="*/ 1697964 w 2386916"/>
                <a:gd name="connsiteY40" fmla="*/ 2801306 h 2870199"/>
                <a:gd name="connsiteX41" fmla="*/ 1424145 w 2386916"/>
                <a:gd name="connsiteY41" fmla="*/ 2824125 h 2870199"/>
                <a:gd name="connsiteX42" fmla="*/ 1332873 w 2386916"/>
                <a:gd name="connsiteY42" fmla="*/ 2710034 h 2870199"/>
                <a:gd name="connsiteX43" fmla="*/ 990600 w 2386916"/>
                <a:gd name="connsiteY43" fmla="*/ 2710034 h 2870199"/>
                <a:gd name="connsiteX44" fmla="*/ 922146 w 2386916"/>
                <a:gd name="connsiteY44" fmla="*/ 2527489 h 2870199"/>
                <a:gd name="connsiteX45" fmla="*/ 625512 w 2386916"/>
                <a:gd name="connsiteY45" fmla="*/ 2687217 h 2870199"/>
                <a:gd name="connsiteX46" fmla="*/ 488602 w 2386916"/>
                <a:gd name="connsiteY46" fmla="*/ 2299307 h 2870199"/>
                <a:gd name="connsiteX47" fmla="*/ 283239 w 2386916"/>
                <a:gd name="connsiteY47" fmla="*/ 2230852 h 2870199"/>
                <a:gd name="connsiteX48" fmla="*/ 259636 w 2386916"/>
                <a:gd name="connsiteY48" fmla="*/ 2219051 h 2870199"/>
                <a:gd name="connsiteX49" fmla="*/ 259636 w 2386916"/>
                <a:gd name="connsiteY49" fmla="*/ 2219050 h 2870199"/>
                <a:gd name="connsiteX50" fmla="*/ 259636 w 2386916"/>
                <a:gd name="connsiteY50" fmla="*/ 2179227 h 2870199"/>
                <a:gd name="connsiteX51" fmla="*/ 259636 w 2386916"/>
                <a:gd name="connsiteY51" fmla="*/ 2100790 h 2870199"/>
                <a:gd name="connsiteX52" fmla="*/ 259637 w 2386916"/>
                <a:gd name="connsiteY52" fmla="*/ 2100789 h 2870199"/>
                <a:gd name="connsiteX53" fmla="*/ 259637 w 2386916"/>
                <a:gd name="connsiteY53" fmla="*/ 2179226 h 2870199"/>
                <a:gd name="connsiteX54" fmla="*/ 259637 w 2386916"/>
                <a:gd name="connsiteY54" fmla="*/ 2219050 h 2870199"/>
                <a:gd name="connsiteX55" fmla="*/ 283240 w 2386916"/>
                <a:gd name="connsiteY55" fmla="*/ 2230851 h 2870199"/>
                <a:gd name="connsiteX56" fmla="*/ 488603 w 2386916"/>
                <a:gd name="connsiteY56" fmla="*/ 2299306 h 2870199"/>
                <a:gd name="connsiteX57" fmla="*/ 625513 w 2386916"/>
                <a:gd name="connsiteY57" fmla="*/ 2687216 h 2870199"/>
                <a:gd name="connsiteX58" fmla="*/ 922147 w 2386916"/>
                <a:gd name="connsiteY58" fmla="*/ 2527488 h 2870199"/>
                <a:gd name="connsiteX59" fmla="*/ 990601 w 2386916"/>
                <a:gd name="connsiteY59" fmla="*/ 2710033 h 2870199"/>
                <a:gd name="connsiteX60" fmla="*/ 1291542 w 2386916"/>
                <a:gd name="connsiteY60" fmla="*/ 2710033 h 2870199"/>
                <a:gd name="connsiteX61" fmla="*/ 1291542 w 2386916"/>
                <a:gd name="connsiteY61" fmla="*/ 2586036 h 2870199"/>
                <a:gd name="connsiteX62" fmla="*/ 1224867 w 2386916"/>
                <a:gd name="connsiteY62" fmla="*/ 2509836 h 2870199"/>
                <a:gd name="connsiteX63" fmla="*/ 1267729 w 2386916"/>
                <a:gd name="connsiteY63" fmla="*/ 2447923 h 2870199"/>
                <a:gd name="connsiteX64" fmla="*/ 1334404 w 2386916"/>
                <a:gd name="connsiteY64" fmla="*/ 2414586 h 2870199"/>
                <a:gd name="connsiteX65" fmla="*/ 1348692 w 2386916"/>
                <a:gd name="connsiteY65" fmla="*/ 2300286 h 2870199"/>
                <a:gd name="connsiteX66" fmla="*/ 1277254 w 2386916"/>
                <a:gd name="connsiteY66" fmla="*/ 2290761 h 2870199"/>
                <a:gd name="connsiteX67" fmla="*/ 1191529 w 2386916"/>
                <a:gd name="connsiteY67" fmla="*/ 2181223 h 2870199"/>
                <a:gd name="connsiteX68" fmla="*/ 1272492 w 2386916"/>
                <a:gd name="connsiteY68" fmla="*/ 2100261 h 2870199"/>
                <a:gd name="connsiteX69" fmla="*/ 1205817 w 2386916"/>
                <a:gd name="connsiteY69" fmla="*/ 2014536 h 2870199"/>
                <a:gd name="connsiteX70" fmla="*/ 1120092 w 2386916"/>
                <a:gd name="connsiteY70" fmla="*/ 1952623 h 2870199"/>
                <a:gd name="connsiteX71" fmla="*/ 1034367 w 2386916"/>
                <a:gd name="connsiteY71" fmla="*/ 1943098 h 2870199"/>
                <a:gd name="connsiteX72" fmla="*/ 924829 w 2386916"/>
                <a:gd name="connsiteY72" fmla="*/ 1900236 h 2870199"/>
                <a:gd name="connsiteX73" fmla="*/ 662892 w 2386916"/>
                <a:gd name="connsiteY73" fmla="*/ 2047873 h 2870199"/>
                <a:gd name="connsiteX74" fmla="*/ 586692 w 2386916"/>
                <a:gd name="connsiteY74" fmla="*/ 2085973 h 2870199"/>
                <a:gd name="connsiteX75" fmla="*/ 310792 w 2386916"/>
                <a:gd name="connsiteY75" fmla="*/ 2055318 h 2870199"/>
                <a:gd name="connsiteX76" fmla="*/ 330230 w 2386916"/>
                <a:gd name="connsiteY76" fmla="*/ 2038040 h 2870199"/>
                <a:gd name="connsiteX77" fmla="*/ 267480 w 2386916"/>
                <a:gd name="connsiteY77" fmla="*/ 1975290 h 2870199"/>
                <a:gd name="connsiteX78" fmla="*/ 322386 w 2386916"/>
                <a:gd name="connsiteY78" fmla="*/ 1967446 h 2870199"/>
                <a:gd name="connsiteX79" fmla="*/ 369448 w 2386916"/>
                <a:gd name="connsiteY79" fmla="*/ 1904696 h 2870199"/>
                <a:gd name="connsiteX80" fmla="*/ 353761 w 2386916"/>
                <a:gd name="connsiteY80" fmla="*/ 1802728 h 2870199"/>
                <a:gd name="connsiteX81" fmla="*/ 141980 w 2386916"/>
                <a:gd name="connsiteY81" fmla="*/ 1653697 h 2870199"/>
                <a:gd name="connsiteX82" fmla="*/ 87074 w 2386916"/>
                <a:gd name="connsiteY82" fmla="*/ 1520353 h 2870199"/>
                <a:gd name="connsiteX83" fmla="*/ 8637 w 2386916"/>
                <a:gd name="connsiteY83" fmla="*/ 1363478 h 2870199"/>
                <a:gd name="connsiteX84" fmla="*/ 13351 w 2386916"/>
                <a:gd name="connsiteY84" fmla="*/ 1259803 h 2870199"/>
                <a:gd name="connsiteX85" fmla="*/ 0 w 2386916"/>
                <a:gd name="connsiteY85" fmla="*/ 1252520 h 2870199"/>
                <a:gd name="connsiteX86" fmla="*/ 16481 w 2386916"/>
                <a:gd name="connsiteY86" fmla="*/ 1261510 h 2870199"/>
                <a:gd name="connsiteX87" fmla="*/ 79230 w 2386916"/>
                <a:gd name="connsiteY87" fmla="*/ 1136010 h 2870199"/>
                <a:gd name="connsiteX88" fmla="*/ 204730 w 2386916"/>
                <a:gd name="connsiteY88" fmla="*/ 1034041 h 2870199"/>
                <a:gd name="connsiteX89" fmla="*/ 283167 w 2386916"/>
                <a:gd name="connsiteY89" fmla="*/ 979135 h 2870199"/>
                <a:gd name="connsiteX90" fmla="*/ 267480 w 2386916"/>
                <a:gd name="connsiteY90" fmla="*/ 869323 h 2870199"/>
                <a:gd name="connsiteX91" fmla="*/ 267480 w 2386916"/>
                <a:gd name="connsiteY91" fmla="*/ 771161 h 2870199"/>
                <a:gd name="connsiteX92" fmla="*/ 267481 w 2386916"/>
                <a:gd name="connsiteY92" fmla="*/ 771159 h 2870199"/>
                <a:gd name="connsiteX93" fmla="*/ 267481 w 2386916"/>
                <a:gd name="connsiteY93" fmla="*/ 869324 h 2870199"/>
                <a:gd name="connsiteX94" fmla="*/ 279604 w 2386916"/>
                <a:gd name="connsiteY94" fmla="*/ 954186 h 2870199"/>
                <a:gd name="connsiteX95" fmla="*/ 428577 w 2386916"/>
                <a:gd name="connsiteY95" fmla="*/ 899160 h 2870199"/>
                <a:gd name="connsiteX96" fmla="*/ 657177 w 2386916"/>
                <a:gd name="connsiteY96" fmla="*/ 906780 h 2870199"/>
                <a:gd name="connsiteX97" fmla="*/ 725757 w 2386916"/>
                <a:gd name="connsiteY97" fmla="*/ 891540 h 2870199"/>
                <a:gd name="connsiteX98" fmla="*/ 695277 w 2386916"/>
                <a:gd name="connsiteY98" fmla="*/ 731520 h 2870199"/>
                <a:gd name="connsiteX99" fmla="*/ 740997 w 2386916"/>
                <a:gd name="connsiteY99" fmla="*/ 670560 h 2870199"/>
                <a:gd name="connsiteX100" fmla="*/ 763857 w 2386916"/>
                <a:gd name="connsiteY100" fmla="*/ 716280 h 2870199"/>
                <a:gd name="connsiteX101" fmla="*/ 832437 w 2386916"/>
                <a:gd name="connsiteY101" fmla="*/ 716280 h 2870199"/>
                <a:gd name="connsiteX102" fmla="*/ 809577 w 2386916"/>
                <a:gd name="connsiteY102" fmla="*/ 601980 h 2870199"/>
                <a:gd name="connsiteX103" fmla="*/ 984837 w 2386916"/>
                <a:gd name="connsiteY103" fmla="*/ 556260 h 2870199"/>
                <a:gd name="connsiteX104" fmla="*/ 1129617 w 2386916"/>
                <a:gd name="connsiteY104" fmla="*/ 419100 h 2870199"/>
                <a:gd name="connsiteX105" fmla="*/ 1137237 w 2386916"/>
                <a:gd name="connsiteY105" fmla="*/ 472440 h 2870199"/>
                <a:gd name="connsiteX106" fmla="*/ 1274397 w 2386916"/>
                <a:gd name="connsiteY106" fmla="*/ 457200 h 2870199"/>
                <a:gd name="connsiteX107" fmla="*/ 1274397 w 2386916"/>
                <a:gd name="connsiteY107" fmla="*/ 350520 h 2870199"/>
                <a:gd name="connsiteX108" fmla="*/ 1495377 w 2386916"/>
                <a:gd name="connsiteY108" fmla="*/ 304800 h 2870199"/>
                <a:gd name="connsiteX109" fmla="*/ 1663017 w 2386916"/>
                <a:gd name="connsiteY109" fmla="*/ 129540 h 2870199"/>
                <a:gd name="connsiteX110" fmla="*/ 1632537 w 2386916"/>
                <a:gd name="connsiteY110" fmla="*/ 22860 h 2870199"/>
                <a:gd name="connsiteX111" fmla="*/ 1701117 w 2386916"/>
                <a:gd name="connsiteY111" fmla="*/ 0 h 2870199"/>
                <a:gd name="connsiteX0" fmla="*/ 1701117 w 2386916"/>
                <a:gd name="connsiteY0" fmla="*/ 0 h 2970212"/>
                <a:gd name="connsiteX1" fmla="*/ 1701117 w 2386916"/>
                <a:gd name="connsiteY1" fmla="*/ 38100 h 2970212"/>
                <a:gd name="connsiteX2" fmla="*/ 1784937 w 2386916"/>
                <a:gd name="connsiteY2" fmla="*/ 129540 h 2970212"/>
                <a:gd name="connsiteX3" fmla="*/ 1845897 w 2386916"/>
                <a:gd name="connsiteY3" fmla="*/ 167640 h 2970212"/>
                <a:gd name="connsiteX4" fmla="*/ 1838277 w 2386916"/>
                <a:gd name="connsiteY4" fmla="*/ 251460 h 2970212"/>
                <a:gd name="connsiteX5" fmla="*/ 1937337 w 2386916"/>
                <a:gd name="connsiteY5" fmla="*/ 373380 h 2970212"/>
                <a:gd name="connsiteX6" fmla="*/ 2030016 w 2386916"/>
                <a:gd name="connsiteY6" fmla="*/ 360140 h 2970212"/>
                <a:gd name="connsiteX7" fmla="*/ 2037666 w 2386916"/>
                <a:gd name="connsiteY7" fmla="*/ 368300 h 2970212"/>
                <a:gd name="connsiteX8" fmla="*/ 2050366 w 2386916"/>
                <a:gd name="connsiteY8" fmla="*/ 469900 h 2970212"/>
                <a:gd name="connsiteX9" fmla="*/ 2044016 w 2386916"/>
                <a:gd name="connsiteY9" fmla="*/ 577850 h 2970212"/>
                <a:gd name="connsiteX10" fmla="*/ 1961466 w 2386916"/>
                <a:gd name="connsiteY10" fmla="*/ 527050 h 2970212"/>
                <a:gd name="connsiteX11" fmla="*/ 1917016 w 2386916"/>
                <a:gd name="connsiteY11" fmla="*/ 622300 h 2970212"/>
                <a:gd name="connsiteX12" fmla="*/ 1872566 w 2386916"/>
                <a:gd name="connsiteY12" fmla="*/ 762000 h 2970212"/>
                <a:gd name="connsiteX13" fmla="*/ 2012266 w 2386916"/>
                <a:gd name="connsiteY13" fmla="*/ 876300 h 2970212"/>
                <a:gd name="connsiteX14" fmla="*/ 2069416 w 2386916"/>
                <a:gd name="connsiteY14" fmla="*/ 958850 h 2970212"/>
                <a:gd name="connsiteX15" fmla="*/ 1955116 w 2386916"/>
                <a:gd name="connsiteY15" fmla="*/ 958850 h 2970212"/>
                <a:gd name="connsiteX16" fmla="*/ 1980516 w 2386916"/>
                <a:gd name="connsiteY16" fmla="*/ 1035050 h 2970212"/>
                <a:gd name="connsiteX17" fmla="*/ 1904316 w 2386916"/>
                <a:gd name="connsiteY17" fmla="*/ 1028700 h 2970212"/>
                <a:gd name="connsiteX18" fmla="*/ 1815416 w 2386916"/>
                <a:gd name="connsiteY18" fmla="*/ 1092200 h 2970212"/>
                <a:gd name="connsiteX19" fmla="*/ 1859866 w 2386916"/>
                <a:gd name="connsiteY19" fmla="*/ 1187450 h 2970212"/>
                <a:gd name="connsiteX20" fmla="*/ 1790016 w 2386916"/>
                <a:gd name="connsiteY20" fmla="*/ 1174750 h 2970212"/>
                <a:gd name="connsiteX21" fmla="*/ 1732866 w 2386916"/>
                <a:gd name="connsiteY21" fmla="*/ 1257300 h 2970212"/>
                <a:gd name="connsiteX22" fmla="*/ 1834466 w 2386916"/>
                <a:gd name="connsiteY22" fmla="*/ 1384300 h 2970212"/>
                <a:gd name="connsiteX23" fmla="*/ 1974166 w 2386916"/>
                <a:gd name="connsiteY23" fmla="*/ 1346200 h 2970212"/>
                <a:gd name="connsiteX24" fmla="*/ 2164666 w 2386916"/>
                <a:gd name="connsiteY24" fmla="*/ 1320800 h 2970212"/>
                <a:gd name="connsiteX25" fmla="*/ 2266266 w 2386916"/>
                <a:gd name="connsiteY25" fmla="*/ 1530350 h 2970212"/>
                <a:gd name="connsiteX26" fmla="*/ 2310716 w 2386916"/>
                <a:gd name="connsiteY26" fmla="*/ 1676400 h 2970212"/>
                <a:gd name="connsiteX27" fmla="*/ 2367866 w 2386916"/>
                <a:gd name="connsiteY27" fmla="*/ 1689100 h 2970212"/>
                <a:gd name="connsiteX28" fmla="*/ 2247216 w 2386916"/>
                <a:gd name="connsiteY28" fmla="*/ 1803400 h 2970212"/>
                <a:gd name="connsiteX29" fmla="*/ 2317066 w 2386916"/>
                <a:gd name="connsiteY29" fmla="*/ 1981200 h 2970212"/>
                <a:gd name="connsiteX30" fmla="*/ 2348292 w 2386916"/>
                <a:gd name="connsiteY30" fmla="*/ 1998548 h 2970212"/>
                <a:gd name="connsiteX31" fmla="*/ 2323416 w 2386916"/>
                <a:gd name="connsiteY31" fmla="*/ 2012949 h 2970212"/>
                <a:gd name="connsiteX32" fmla="*/ 2329766 w 2386916"/>
                <a:gd name="connsiteY32" fmla="*/ 2171699 h 2970212"/>
                <a:gd name="connsiteX33" fmla="*/ 2386916 w 2386916"/>
                <a:gd name="connsiteY33" fmla="*/ 2197099 h 2970212"/>
                <a:gd name="connsiteX34" fmla="*/ 2329766 w 2386916"/>
                <a:gd name="connsiteY34" fmla="*/ 2349499 h 2970212"/>
                <a:gd name="connsiteX35" fmla="*/ 2374216 w 2386916"/>
                <a:gd name="connsiteY35" fmla="*/ 2419349 h 2970212"/>
                <a:gd name="connsiteX36" fmla="*/ 2266266 w 2386916"/>
                <a:gd name="connsiteY36" fmla="*/ 2527299 h 2970212"/>
                <a:gd name="connsiteX37" fmla="*/ 2304366 w 2386916"/>
                <a:gd name="connsiteY37" fmla="*/ 2546349 h 2970212"/>
                <a:gd name="connsiteX38" fmla="*/ 2215466 w 2386916"/>
                <a:gd name="connsiteY38" fmla="*/ 2736849 h 2970212"/>
                <a:gd name="connsiteX39" fmla="*/ 2063066 w 2386916"/>
                <a:gd name="connsiteY39" fmla="*/ 2970212 h 2970212"/>
                <a:gd name="connsiteX40" fmla="*/ 1697964 w 2386916"/>
                <a:gd name="connsiteY40" fmla="*/ 2801306 h 2970212"/>
                <a:gd name="connsiteX41" fmla="*/ 1424145 w 2386916"/>
                <a:gd name="connsiteY41" fmla="*/ 2824125 h 2970212"/>
                <a:gd name="connsiteX42" fmla="*/ 1332873 w 2386916"/>
                <a:gd name="connsiteY42" fmla="*/ 2710034 h 2970212"/>
                <a:gd name="connsiteX43" fmla="*/ 990600 w 2386916"/>
                <a:gd name="connsiteY43" fmla="*/ 2710034 h 2970212"/>
                <a:gd name="connsiteX44" fmla="*/ 922146 w 2386916"/>
                <a:gd name="connsiteY44" fmla="*/ 2527489 h 2970212"/>
                <a:gd name="connsiteX45" fmla="*/ 625512 w 2386916"/>
                <a:gd name="connsiteY45" fmla="*/ 2687217 h 2970212"/>
                <a:gd name="connsiteX46" fmla="*/ 488602 w 2386916"/>
                <a:gd name="connsiteY46" fmla="*/ 2299307 h 2970212"/>
                <a:gd name="connsiteX47" fmla="*/ 283239 w 2386916"/>
                <a:gd name="connsiteY47" fmla="*/ 2230852 h 2970212"/>
                <a:gd name="connsiteX48" fmla="*/ 259636 w 2386916"/>
                <a:gd name="connsiteY48" fmla="*/ 2219051 h 2970212"/>
                <a:gd name="connsiteX49" fmla="*/ 259636 w 2386916"/>
                <a:gd name="connsiteY49" fmla="*/ 2219050 h 2970212"/>
                <a:gd name="connsiteX50" fmla="*/ 259636 w 2386916"/>
                <a:gd name="connsiteY50" fmla="*/ 2179227 h 2970212"/>
                <a:gd name="connsiteX51" fmla="*/ 259636 w 2386916"/>
                <a:gd name="connsiteY51" fmla="*/ 2100790 h 2970212"/>
                <a:gd name="connsiteX52" fmla="*/ 259637 w 2386916"/>
                <a:gd name="connsiteY52" fmla="*/ 2100789 h 2970212"/>
                <a:gd name="connsiteX53" fmla="*/ 259637 w 2386916"/>
                <a:gd name="connsiteY53" fmla="*/ 2179226 h 2970212"/>
                <a:gd name="connsiteX54" fmla="*/ 259637 w 2386916"/>
                <a:gd name="connsiteY54" fmla="*/ 2219050 h 2970212"/>
                <a:gd name="connsiteX55" fmla="*/ 283240 w 2386916"/>
                <a:gd name="connsiteY55" fmla="*/ 2230851 h 2970212"/>
                <a:gd name="connsiteX56" fmla="*/ 488603 w 2386916"/>
                <a:gd name="connsiteY56" fmla="*/ 2299306 h 2970212"/>
                <a:gd name="connsiteX57" fmla="*/ 625513 w 2386916"/>
                <a:gd name="connsiteY57" fmla="*/ 2687216 h 2970212"/>
                <a:gd name="connsiteX58" fmla="*/ 922147 w 2386916"/>
                <a:gd name="connsiteY58" fmla="*/ 2527488 h 2970212"/>
                <a:gd name="connsiteX59" fmla="*/ 990601 w 2386916"/>
                <a:gd name="connsiteY59" fmla="*/ 2710033 h 2970212"/>
                <a:gd name="connsiteX60" fmla="*/ 1291542 w 2386916"/>
                <a:gd name="connsiteY60" fmla="*/ 2710033 h 2970212"/>
                <a:gd name="connsiteX61" fmla="*/ 1291542 w 2386916"/>
                <a:gd name="connsiteY61" fmla="*/ 2586036 h 2970212"/>
                <a:gd name="connsiteX62" fmla="*/ 1224867 w 2386916"/>
                <a:gd name="connsiteY62" fmla="*/ 2509836 h 2970212"/>
                <a:gd name="connsiteX63" fmla="*/ 1267729 w 2386916"/>
                <a:gd name="connsiteY63" fmla="*/ 2447923 h 2970212"/>
                <a:gd name="connsiteX64" fmla="*/ 1334404 w 2386916"/>
                <a:gd name="connsiteY64" fmla="*/ 2414586 h 2970212"/>
                <a:gd name="connsiteX65" fmla="*/ 1348692 w 2386916"/>
                <a:gd name="connsiteY65" fmla="*/ 2300286 h 2970212"/>
                <a:gd name="connsiteX66" fmla="*/ 1277254 w 2386916"/>
                <a:gd name="connsiteY66" fmla="*/ 2290761 h 2970212"/>
                <a:gd name="connsiteX67" fmla="*/ 1191529 w 2386916"/>
                <a:gd name="connsiteY67" fmla="*/ 2181223 h 2970212"/>
                <a:gd name="connsiteX68" fmla="*/ 1272492 w 2386916"/>
                <a:gd name="connsiteY68" fmla="*/ 2100261 h 2970212"/>
                <a:gd name="connsiteX69" fmla="*/ 1205817 w 2386916"/>
                <a:gd name="connsiteY69" fmla="*/ 2014536 h 2970212"/>
                <a:gd name="connsiteX70" fmla="*/ 1120092 w 2386916"/>
                <a:gd name="connsiteY70" fmla="*/ 1952623 h 2970212"/>
                <a:gd name="connsiteX71" fmla="*/ 1034367 w 2386916"/>
                <a:gd name="connsiteY71" fmla="*/ 1943098 h 2970212"/>
                <a:gd name="connsiteX72" fmla="*/ 924829 w 2386916"/>
                <a:gd name="connsiteY72" fmla="*/ 1900236 h 2970212"/>
                <a:gd name="connsiteX73" fmla="*/ 662892 w 2386916"/>
                <a:gd name="connsiteY73" fmla="*/ 2047873 h 2970212"/>
                <a:gd name="connsiteX74" fmla="*/ 586692 w 2386916"/>
                <a:gd name="connsiteY74" fmla="*/ 2085973 h 2970212"/>
                <a:gd name="connsiteX75" fmla="*/ 310792 w 2386916"/>
                <a:gd name="connsiteY75" fmla="*/ 2055318 h 2970212"/>
                <a:gd name="connsiteX76" fmla="*/ 330230 w 2386916"/>
                <a:gd name="connsiteY76" fmla="*/ 2038040 h 2970212"/>
                <a:gd name="connsiteX77" fmla="*/ 267480 w 2386916"/>
                <a:gd name="connsiteY77" fmla="*/ 1975290 h 2970212"/>
                <a:gd name="connsiteX78" fmla="*/ 322386 w 2386916"/>
                <a:gd name="connsiteY78" fmla="*/ 1967446 h 2970212"/>
                <a:gd name="connsiteX79" fmla="*/ 369448 w 2386916"/>
                <a:gd name="connsiteY79" fmla="*/ 1904696 h 2970212"/>
                <a:gd name="connsiteX80" fmla="*/ 353761 w 2386916"/>
                <a:gd name="connsiteY80" fmla="*/ 1802728 h 2970212"/>
                <a:gd name="connsiteX81" fmla="*/ 141980 w 2386916"/>
                <a:gd name="connsiteY81" fmla="*/ 1653697 h 2970212"/>
                <a:gd name="connsiteX82" fmla="*/ 87074 w 2386916"/>
                <a:gd name="connsiteY82" fmla="*/ 1520353 h 2970212"/>
                <a:gd name="connsiteX83" fmla="*/ 8637 w 2386916"/>
                <a:gd name="connsiteY83" fmla="*/ 1363478 h 2970212"/>
                <a:gd name="connsiteX84" fmla="*/ 13351 w 2386916"/>
                <a:gd name="connsiteY84" fmla="*/ 1259803 h 2970212"/>
                <a:gd name="connsiteX85" fmla="*/ 0 w 2386916"/>
                <a:gd name="connsiteY85" fmla="*/ 1252520 h 2970212"/>
                <a:gd name="connsiteX86" fmla="*/ 16481 w 2386916"/>
                <a:gd name="connsiteY86" fmla="*/ 1261510 h 2970212"/>
                <a:gd name="connsiteX87" fmla="*/ 79230 w 2386916"/>
                <a:gd name="connsiteY87" fmla="*/ 1136010 h 2970212"/>
                <a:gd name="connsiteX88" fmla="*/ 204730 w 2386916"/>
                <a:gd name="connsiteY88" fmla="*/ 1034041 h 2970212"/>
                <a:gd name="connsiteX89" fmla="*/ 283167 w 2386916"/>
                <a:gd name="connsiteY89" fmla="*/ 979135 h 2970212"/>
                <a:gd name="connsiteX90" fmla="*/ 267480 w 2386916"/>
                <a:gd name="connsiteY90" fmla="*/ 869323 h 2970212"/>
                <a:gd name="connsiteX91" fmla="*/ 267480 w 2386916"/>
                <a:gd name="connsiteY91" fmla="*/ 771161 h 2970212"/>
                <a:gd name="connsiteX92" fmla="*/ 267481 w 2386916"/>
                <a:gd name="connsiteY92" fmla="*/ 771159 h 2970212"/>
                <a:gd name="connsiteX93" fmla="*/ 267481 w 2386916"/>
                <a:gd name="connsiteY93" fmla="*/ 869324 h 2970212"/>
                <a:gd name="connsiteX94" fmla="*/ 279604 w 2386916"/>
                <a:gd name="connsiteY94" fmla="*/ 954186 h 2970212"/>
                <a:gd name="connsiteX95" fmla="*/ 428577 w 2386916"/>
                <a:gd name="connsiteY95" fmla="*/ 899160 h 2970212"/>
                <a:gd name="connsiteX96" fmla="*/ 657177 w 2386916"/>
                <a:gd name="connsiteY96" fmla="*/ 906780 h 2970212"/>
                <a:gd name="connsiteX97" fmla="*/ 725757 w 2386916"/>
                <a:gd name="connsiteY97" fmla="*/ 891540 h 2970212"/>
                <a:gd name="connsiteX98" fmla="*/ 695277 w 2386916"/>
                <a:gd name="connsiteY98" fmla="*/ 731520 h 2970212"/>
                <a:gd name="connsiteX99" fmla="*/ 740997 w 2386916"/>
                <a:gd name="connsiteY99" fmla="*/ 670560 h 2970212"/>
                <a:gd name="connsiteX100" fmla="*/ 763857 w 2386916"/>
                <a:gd name="connsiteY100" fmla="*/ 716280 h 2970212"/>
                <a:gd name="connsiteX101" fmla="*/ 832437 w 2386916"/>
                <a:gd name="connsiteY101" fmla="*/ 716280 h 2970212"/>
                <a:gd name="connsiteX102" fmla="*/ 809577 w 2386916"/>
                <a:gd name="connsiteY102" fmla="*/ 601980 h 2970212"/>
                <a:gd name="connsiteX103" fmla="*/ 984837 w 2386916"/>
                <a:gd name="connsiteY103" fmla="*/ 556260 h 2970212"/>
                <a:gd name="connsiteX104" fmla="*/ 1129617 w 2386916"/>
                <a:gd name="connsiteY104" fmla="*/ 419100 h 2970212"/>
                <a:gd name="connsiteX105" fmla="*/ 1137237 w 2386916"/>
                <a:gd name="connsiteY105" fmla="*/ 472440 h 2970212"/>
                <a:gd name="connsiteX106" fmla="*/ 1274397 w 2386916"/>
                <a:gd name="connsiteY106" fmla="*/ 457200 h 2970212"/>
                <a:gd name="connsiteX107" fmla="*/ 1274397 w 2386916"/>
                <a:gd name="connsiteY107" fmla="*/ 350520 h 2970212"/>
                <a:gd name="connsiteX108" fmla="*/ 1495377 w 2386916"/>
                <a:gd name="connsiteY108" fmla="*/ 304800 h 2970212"/>
                <a:gd name="connsiteX109" fmla="*/ 1663017 w 2386916"/>
                <a:gd name="connsiteY109" fmla="*/ 129540 h 2970212"/>
                <a:gd name="connsiteX110" fmla="*/ 1632537 w 2386916"/>
                <a:gd name="connsiteY110" fmla="*/ 22860 h 2970212"/>
                <a:gd name="connsiteX111" fmla="*/ 1701117 w 2386916"/>
                <a:gd name="connsiteY111" fmla="*/ 0 h 29702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</a:cxnLst>
              <a:rect l="l" t="t" r="r" b="b"/>
              <a:pathLst>
                <a:path w="2386916" h="2970212">
                  <a:moveTo>
                    <a:pt x="1701117" y="0"/>
                  </a:moveTo>
                  <a:lnTo>
                    <a:pt x="1701117" y="38100"/>
                  </a:lnTo>
                  <a:lnTo>
                    <a:pt x="1784937" y="129540"/>
                  </a:lnTo>
                  <a:lnTo>
                    <a:pt x="1845897" y="167640"/>
                  </a:lnTo>
                  <a:lnTo>
                    <a:pt x="1838277" y="251460"/>
                  </a:lnTo>
                  <a:lnTo>
                    <a:pt x="1937337" y="373380"/>
                  </a:lnTo>
                  <a:lnTo>
                    <a:pt x="2030016" y="360140"/>
                  </a:lnTo>
                  <a:lnTo>
                    <a:pt x="2037666" y="368300"/>
                  </a:lnTo>
                  <a:lnTo>
                    <a:pt x="2050366" y="469900"/>
                  </a:lnTo>
                  <a:lnTo>
                    <a:pt x="2044016" y="577850"/>
                  </a:lnTo>
                  <a:lnTo>
                    <a:pt x="1961466" y="527050"/>
                  </a:lnTo>
                  <a:lnTo>
                    <a:pt x="1917016" y="622300"/>
                  </a:lnTo>
                  <a:lnTo>
                    <a:pt x="1872566" y="762000"/>
                  </a:lnTo>
                  <a:lnTo>
                    <a:pt x="2012266" y="876300"/>
                  </a:lnTo>
                  <a:lnTo>
                    <a:pt x="2069416" y="958850"/>
                  </a:lnTo>
                  <a:lnTo>
                    <a:pt x="1955116" y="958850"/>
                  </a:lnTo>
                  <a:lnTo>
                    <a:pt x="1980516" y="1035050"/>
                  </a:lnTo>
                  <a:lnTo>
                    <a:pt x="1904316" y="1028700"/>
                  </a:lnTo>
                  <a:lnTo>
                    <a:pt x="1815416" y="1092200"/>
                  </a:lnTo>
                  <a:lnTo>
                    <a:pt x="1859866" y="1187450"/>
                  </a:lnTo>
                  <a:lnTo>
                    <a:pt x="1790016" y="1174750"/>
                  </a:lnTo>
                  <a:lnTo>
                    <a:pt x="1732866" y="1257300"/>
                  </a:lnTo>
                  <a:lnTo>
                    <a:pt x="1834466" y="1384300"/>
                  </a:lnTo>
                  <a:lnTo>
                    <a:pt x="1974166" y="1346200"/>
                  </a:lnTo>
                  <a:lnTo>
                    <a:pt x="2164666" y="1320800"/>
                  </a:lnTo>
                  <a:lnTo>
                    <a:pt x="2266266" y="1530350"/>
                  </a:lnTo>
                  <a:lnTo>
                    <a:pt x="2310716" y="1676400"/>
                  </a:lnTo>
                  <a:lnTo>
                    <a:pt x="2367866" y="1689100"/>
                  </a:lnTo>
                  <a:lnTo>
                    <a:pt x="2247216" y="1803400"/>
                  </a:lnTo>
                  <a:lnTo>
                    <a:pt x="2317066" y="1981200"/>
                  </a:lnTo>
                  <a:lnTo>
                    <a:pt x="2348292" y="1998548"/>
                  </a:lnTo>
                  <a:lnTo>
                    <a:pt x="2323416" y="2012949"/>
                  </a:lnTo>
                  <a:lnTo>
                    <a:pt x="2329766" y="2171699"/>
                  </a:lnTo>
                  <a:lnTo>
                    <a:pt x="2386916" y="2197099"/>
                  </a:lnTo>
                  <a:lnTo>
                    <a:pt x="2329766" y="2349499"/>
                  </a:lnTo>
                  <a:lnTo>
                    <a:pt x="2374216" y="2419349"/>
                  </a:lnTo>
                  <a:lnTo>
                    <a:pt x="2266266" y="2527299"/>
                  </a:lnTo>
                  <a:lnTo>
                    <a:pt x="2304366" y="2546349"/>
                  </a:lnTo>
                  <a:lnTo>
                    <a:pt x="2215466" y="2736849"/>
                  </a:lnTo>
                  <a:lnTo>
                    <a:pt x="2063066" y="2970212"/>
                  </a:lnTo>
                  <a:lnTo>
                    <a:pt x="1697964" y="2801306"/>
                  </a:lnTo>
                  <a:lnTo>
                    <a:pt x="1424145" y="2824125"/>
                  </a:lnTo>
                  <a:lnTo>
                    <a:pt x="1332873" y="2710034"/>
                  </a:lnTo>
                  <a:lnTo>
                    <a:pt x="990600" y="2710034"/>
                  </a:lnTo>
                  <a:lnTo>
                    <a:pt x="922146" y="2527489"/>
                  </a:lnTo>
                  <a:lnTo>
                    <a:pt x="625512" y="2687217"/>
                  </a:lnTo>
                  <a:lnTo>
                    <a:pt x="488602" y="2299307"/>
                  </a:lnTo>
                  <a:lnTo>
                    <a:pt x="283239" y="2230852"/>
                  </a:lnTo>
                  <a:lnTo>
                    <a:pt x="259636" y="2219051"/>
                  </a:lnTo>
                  <a:lnTo>
                    <a:pt x="259636" y="2219050"/>
                  </a:lnTo>
                  <a:lnTo>
                    <a:pt x="259636" y="2179227"/>
                  </a:lnTo>
                  <a:lnTo>
                    <a:pt x="259636" y="2100790"/>
                  </a:lnTo>
                  <a:lnTo>
                    <a:pt x="259637" y="2100789"/>
                  </a:lnTo>
                  <a:lnTo>
                    <a:pt x="259637" y="2179226"/>
                  </a:lnTo>
                  <a:lnTo>
                    <a:pt x="259637" y="2219050"/>
                  </a:lnTo>
                  <a:lnTo>
                    <a:pt x="283240" y="2230851"/>
                  </a:lnTo>
                  <a:lnTo>
                    <a:pt x="488603" y="2299306"/>
                  </a:lnTo>
                  <a:lnTo>
                    <a:pt x="625513" y="2687216"/>
                  </a:lnTo>
                  <a:lnTo>
                    <a:pt x="922147" y="2527488"/>
                  </a:lnTo>
                  <a:lnTo>
                    <a:pt x="990601" y="2710033"/>
                  </a:lnTo>
                  <a:lnTo>
                    <a:pt x="1291542" y="2710033"/>
                  </a:lnTo>
                  <a:lnTo>
                    <a:pt x="1291542" y="2586036"/>
                  </a:lnTo>
                  <a:lnTo>
                    <a:pt x="1224867" y="2509836"/>
                  </a:lnTo>
                  <a:lnTo>
                    <a:pt x="1267729" y="2447923"/>
                  </a:lnTo>
                  <a:lnTo>
                    <a:pt x="1334404" y="2414586"/>
                  </a:lnTo>
                  <a:lnTo>
                    <a:pt x="1348692" y="2300286"/>
                  </a:lnTo>
                  <a:lnTo>
                    <a:pt x="1277254" y="2290761"/>
                  </a:lnTo>
                  <a:lnTo>
                    <a:pt x="1191529" y="2181223"/>
                  </a:lnTo>
                  <a:lnTo>
                    <a:pt x="1272492" y="2100261"/>
                  </a:lnTo>
                  <a:lnTo>
                    <a:pt x="1205817" y="2014536"/>
                  </a:lnTo>
                  <a:lnTo>
                    <a:pt x="1120092" y="1952623"/>
                  </a:lnTo>
                  <a:lnTo>
                    <a:pt x="1034367" y="1943098"/>
                  </a:lnTo>
                  <a:lnTo>
                    <a:pt x="924829" y="1900236"/>
                  </a:lnTo>
                  <a:lnTo>
                    <a:pt x="662892" y="2047873"/>
                  </a:lnTo>
                  <a:lnTo>
                    <a:pt x="586692" y="2085973"/>
                  </a:lnTo>
                  <a:lnTo>
                    <a:pt x="310792" y="2055318"/>
                  </a:lnTo>
                  <a:lnTo>
                    <a:pt x="330230" y="2038040"/>
                  </a:lnTo>
                  <a:lnTo>
                    <a:pt x="267480" y="1975290"/>
                  </a:lnTo>
                  <a:lnTo>
                    <a:pt x="322386" y="1967446"/>
                  </a:lnTo>
                  <a:lnTo>
                    <a:pt x="369448" y="1904696"/>
                  </a:lnTo>
                  <a:lnTo>
                    <a:pt x="353761" y="1802728"/>
                  </a:lnTo>
                  <a:lnTo>
                    <a:pt x="141980" y="1653697"/>
                  </a:lnTo>
                  <a:lnTo>
                    <a:pt x="87074" y="1520353"/>
                  </a:lnTo>
                  <a:lnTo>
                    <a:pt x="8637" y="1363478"/>
                  </a:lnTo>
                  <a:lnTo>
                    <a:pt x="13351" y="1259803"/>
                  </a:lnTo>
                  <a:lnTo>
                    <a:pt x="0" y="1252520"/>
                  </a:lnTo>
                  <a:lnTo>
                    <a:pt x="16481" y="1261510"/>
                  </a:lnTo>
                  <a:lnTo>
                    <a:pt x="79230" y="1136010"/>
                  </a:lnTo>
                  <a:lnTo>
                    <a:pt x="204730" y="1034041"/>
                  </a:lnTo>
                  <a:lnTo>
                    <a:pt x="283167" y="979135"/>
                  </a:lnTo>
                  <a:lnTo>
                    <a:pt x="267480" y="869323"/>
                  </a:lnTo>
                  <a:lnTo>
                    <a:pt x="267480" y="771161"/>
                  </a:lnTo>
                  <a:cubicBezTo>
                    <a:pt x="267480" y="771160"/>
                    <a:pt x="267481" y="771160"/>
                    <a:pt x="267481" y="771159"/>
                  </a:cubicBezTo>
                  <a:lnTo>
                    <a:pt x="267481" y="869324"/>
                  </a:lnTo>
                  <a:lnTo>
                    <a:pt x="279604" y="954186"/>
                  </a:lnTo>
                  <a:lnTo>
                    <a:pt x="428577" y="899160"/>
                  </a:lnTo>
                  <a:lnTo>
                    <a:pt x="657177" y="906780"/>
                  </a:lnTo>
                  <a:lnTo>
                    <a:pt x="725757" y="891540"/>
                  </a:lnTo>
                  <a:lnTo>
                    <a:pt x="695277" y="731520"/>
                  </a:lnTo>
                  <a:lnTo>
                    <a:pt x="740997" y="670560"/>
                  </a:lnTo>
                  <a:lnTo>
                    <a:pt x="763857" y="716280"/>
                  </a:lnTo>
                  <a:lnTo>
                    <a:pt x="832437" y="716280"/>
                  </a:lnTo>
                  <a:lnTo>
                    <a:pt x="809577" y="601980"/>
                  </a:lnTo>
                  <a:lnTo>
                    <a:pt x="984837" y="556260"/>
                  </a:lnTo>
                  <a:lnTo>
                    <a:pt x="1129617" y="419100"/>
                  </a:lnTo>
                  <a:lnTo>
                    <a:pt x="1137237" y="472440"/>
                  </a:lnTo>
                  <a:lnTo>
                    <a:pt x="1274397" y="457200"/>
                  </a:lnTo>
                  <a:lnTo>
                    <a:pt x="1274397" y="350520"/>
                  </a:lnTo>
                  <a:lnTo>
                    <a:pt x="1495377" y="304800"/>
                  </a:lnTo>
                  <a:lnTo>
                    <a:pt x="1663017" y="129540"/>
                  </a:lnTo>
                  <a:lnTo>
                    <a:pt x="1632537" y="22860"/>
                  </a:lnTo>
                  <a:lnTo>
                    <a:pt x="1701117" y="0"/>
                  </a:lnTo>
                  <a:close/>
                </a:path>
              </a:pathLst>
            </a:custGeom>
            <a:solidFill>
              <a:schemeClr val="accent2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0" name="_Map_Saarland">
              <a:extLst>
                <a:ext uri="{FF2B5EF4-FFF2-40B4-BE49-F238E27FC236}">
                  <a16:creationId xmlns:a16="http://schemas.microsoft.com/office/drawing/2014/main" id="{F6C48D4C-6D3A-4C57-B0FB-3C9702B4A2FC}"/>
                </a:ext>
              </a:extLst>
            </p:cNvPr>
            <p:cNvSpPr>
              <a:spLocks noChangeAspect="1"/>
            </p:cNvSpPr>
            <p:nvPr>
              <p:custDataLst>
                <p:tags r:id="rId18"/>
              </p:custDataLst>
            </p:nvPr>
          </p:nvSpPr>
          <p:spPr bwMode="gray">
            <a:xfrm>
              <a:off x="5740845" y="4817413"/>
              <a:ext cx="452074" cy="328118"/>
            </a:xfrm>
            <a:custGeom>
              <a:avLst/>
              <a:gdLst>
                <a:gd name="connsiteX0" fmla="*/ 0 w 1115721"/>
                <a:gd name="connsiteY0" fmla="*/ 305481 h 809797"/>
                <a:gd name="connsiteX1" fmla="*/ 26666 w 1115721"/>
                <a:gd name="connsiteY1" fmla="*/ 318814 h 809797"/>
                <a:gd name="connsiteX2" fmla="*/ 26666 w 1115721"/>
                <a:gd name="connsiteY2" fmla="*/ 318814 h 809797"/>
                <a:gd name="connsiteX3" fmla="*/ 691858 w 1115721"/>
                <a:gd name="connsiteY3" fmla="*/ 0 h 809797"/>
                <a:gd name="connsiteX4" fmla="*/ 801396 w 1115721"/>
                <a:gd name="connsiteY4" fmla="*/ 42862 h 809797"/>
                <a:gd name="connsiteX5" fmla="*/ 887121 w 1115721"/>
                <a:gd name="connsiteY5" fmla="*/ 52387 h 809797"/>
                <a:gd name="connsiteX6" fmla="*/ 972846 w 1115721"/>
                <a:gd name="connsiteY6" fmla="*/ 114300 h 809797"/>
                <a:gd name="connsiteX7" fmla="*/ 1039521 w 1115721"/>
                <a:gd name="connsiteY7" fmla="*/ 200025 h 809797"/>
                <a:gd name="connsiteX8" fmla="*/ 958558 w 1115721"/>
                <a:gd name="connsiteY8" fmla="*/ 280987 h 809797"/>
                <a:gd name="connsiteX9" fmla="*/ 1044283 w 1115721"/>
                <a:gd name="connsiteY9" fmla="*/ 390525 h 809797"/>
                <a:gd name="connsiteX10" fmla="*/ 1115721 w 1115721"/>
                <a:gd name="connsiteY10" fmla="*/ 400050 h 809797"/>
                <a:gd name="connsiteX11" fmla="*/ 1101433 w 1115721"/>
                <a:gd name="connsiteY11" fmla="*/ 514350 h 809797"/>
                <a:gd name="connsiteX12" fmla="*/ 1034758 w 1115721"/>
                <a:gd name="connsiteY12" fmla="*/ 547687 h 809797"/>
                <a:gd name="connsiteX13" fmla="*/ 991896 w 1115721"/>
                <a:gd name="connsiteY13" fmla="*/ 609600 h 809797"/>
                <a:gd name="connsiteX14" fmla="*/ 1058571 w 1115721"/>
                <a:gd name="connsiteY14" fmla="*/ 685800 h 809797"/>
                <a:gd name="connsiteX15" fmla="*/ 1058571 w 1115721"/>
                <a:gd name="connsiteY15" fmla="*/ 809797 h 809797"/>
                <a:gd name="connsiteX16" fmla="*/ 757630 w 1115721"/>
                <a:gd name="connsiteY16" fmla="*/ 809797 h 809797"/>
                <a:gd name="connsiteX17" fmla="*/ 689176 w 1115721"/>
                <a:gd name="connsiteY17" fmla="*/ 627252 h 809797"/>
                <a:gd name="connsiteX18" fmla="*/ 392542 w 1115721"/>
                <a:gd name="connsiteY18" fmla="*/ 786980 h 809797"/>
                <a:gd name="connsiteX19" fmla="*/ 255632 w 1115721"/>
                <a:gd name="connsiteY19" fmla="*/ 399070 h 809797"/>
                <a:gd name="connsiteX20" fmla="*/ 50269 w 1115721"/>
                <a:gd name="connsiteY20" fmla="*/ 330615 h 809797"/>
                <a:gd name="connsiteX21" fmla="*/ 26666 w 1115721"/>
                <a:gd name="connsiteY21" fmla="*/ 318814 h 809797"/>
                <a:gd name="connsiteX22" fmla="*/ 26666 w 1115721"/>
                <a:gd name="connsiteY22" fmla="*/ 278990 h 809797"/>
                <a:gd name="connsiteX23" fmla="*/ 26666 w 1115721"/>
                <a:gd name="connsiteY23" fmla="*/ 200553 h 809797"/>
                <a:gd name="connsiteX24" fmla="*/ 77821 w 1115721"/>
                <a:gd name="connsiteY24" fmla="*/ 155082 h 809797"/>
                <a:gd name="connsiteX25" fmla="*/ 353721 w 1115721"/>
                <a:gd name="connsiteY25" fmla="*/ 185737 h 809797"/>
                <a:gd name="connsiteX26" fmla="*/ 429921 w 1115721"/>
                <a:gd name="connsiteY26" fmla="*/ 147637 h 809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</a:cxnLst>
              <a:rect l="l" t="t" r="r" b="b"/>
              <a:pathLst>
                <a:path w="1115721" h="809797">
                  <a:moveTo>
                    <a:pt x="0" y="305481"/>
                  </a:moveTo>
                  <a:lnTo>
                    <a:pt x="26666" y="318814"/>
                  </a:lnTo>
                  <a:lnTo>
                    <a:pt x="26666" y="318814"/>
                  </a:lnTo>
                  <a:close/>
                  <a:moveTo>
                    <a:pt x="691858" y="0"/>
                  </a:moveTo>
                  <a:lnTo>
                    <a:pt x="801396" y="42862"/>
                  </a:lnTo>
                  <a:lnTo>
                    <a:pt x="887121" y="52387"/>
                  </a:lnTo>
                  <a:lnTo>
                    <a:pt x="972846" y="114300"/>
                  </a:lnTo>
                  <a:lnTo>
                    <a:pt x="1039521" y="200025"/>
                  </a:lnTo>
                  <a:lnTo>
                    <a:pt x="958558" y="280987"/>
                  </a:lnTo>
                  <a:lnTo>
                    <a:pt x="1044283" y="390525"/>
                  </a:lnTo>
                  <a:lnTo>
                    <a:pt x="1115721" y="400050"/>
                  </a:lnTo>
                  <a:lnTo>
                    <a:pt x="1101433" y="514350"/>
                  </a:lnTo>
                  <a:lnTo>
                    <a:pt x="1034758" y="547687"/>
                  </a:lnTo>
                  <a:lnTo>
                    <a:pt x="991896" y="609600"/>
                  </a:lnTo>
                  <a:lnTo>
                    <a:pt x="1058571" y="685800"/>
                  </a:lnTo>
                  <a:lnTo>
                    <a:pt x="1058571" y="809797"/>
                  </a:lnTo>
                  <a:lnTo>
                    <a:pt x="757630" y="809797"/>
                  </a:lnTo>
                  <a:lnTo>
                    <a:pt x="689176" y="627252"/>
                  </a:lnTo>
                  <a:lnTo>
                    <a:pt x="392542" y="786980"/>
                  </a:lnTo>
                  <a:lnTo>
                    <a:pt x="255632" y="399070"/>
                  </a:lnTo>
                  <a:lnTo>
                    <a:pt x="50269" y="330615"/>
                  </a:lnTo>
                  <a:lnTo>
                    <a:pt x="26666" y="318814"/>
                  </a:lnTo>
                  <a:lnTo>
                    <a:pt x="26666" y="278990"/>
                  </a:lnTo>
                  <a:lnTo>
                    <a:pt x="26666" y="200553"/>
                  </a:lnTo>
                  <a:lnTo>
                    <a:pt x="77821" y="155082"/>
                  </a:lnTo>
                  <a:lnTo>
                    <a:pt x="353721" y="185737"/>
                  </a:lnTo>
                  <a:lnTo>
                    <a:pt x="429921" y="147637"/>
                  </a:lnTo>
                  <a:close/>
                </a:path>
              </a:pathLst>
            </a:custGeom>
            <a:solidFill>
              <a:srgbClr val="EDBA36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1" name="_Map_Baden Wüttemberg">
              <a:extLst>
                <a:ext uri="{FF2B5EF4-FFF2-40B4-BE49-F238E27FC236}">
                  <a16:creationId xmlns:a16="http://schemas.microsoft.com/office/drawing/2014/main" id="{E3AEEFF8-480D-4EE9-B97B-01DBAE18D9B4}"/>
                </a:ext>
              </a:extLst>
            </p:cNvPr>
            <p:cNvSpPr/>
            <p:nvPr>
              <p:custDataLst>
                <p:tags r:id="rId19"/>
              </p:custDataLst>
            </p:nvPr>
          </p:nvSpPr>
          <p:spPr bwMode="gray">
            <a:xfrm>
              <a:off x="6205002" y="4723630"/>
              <a:ext cx="1214434" cy="1390539"/>
            </a:xfrm>
            <a:custGeom>
              <a:avLst/>
              <a:gdLst>
                <a:gd name="connsiteX0" fmla="*/ 1976146 w 2997226"/>
                <a:gd name="connsiteY0" fmla="*/ 0 h 3431851"/>
                <a:gd name="connsiteX1" fmla="*/ 2174266 w 2997226"/>
                <a:gd name="connsiteY1" fmla="*/ 15240 h 3431851"/>
                <a:gd name="connsiteX2" fmla="*/ 2166646 w 2997226"/>
                <a:gd name="connsiteY2" fmla="*/ 160020 h 3431851"/>
                <a:gd name="connsiteX3" fmla="*/ 2250466 w 2997226"/>
                <a:gd name="connsiteY3" fmla="*/ 106680 h 3431851"/>
                <a:gd name="connsiteX4" fmla="*/ 2265706 w 2997226"/>
                <a:gd name="connsiteY4" fmla="*/ 167640 h 3431851"/>
                <a:gd name="connsiteX5" fmla="*/ 2303806 w 2997226"/>
                <a:gd name="connsiteY5" fmla="*/ 68580 h 3431851"/>
                <a:gd name="connsiteX6" fmla="*/ 2334286 w 2997226"/>
                <a:gd name="connsiteY6" fmla="*/ 121920 h 3431851"/>
                <a:gd name="connsiteX7" fmla="*/ 2402866 w 2997226"/>
                <a:gd name="connsiteY7" fmla="*/ 251460 h 3431851"/>
                <a:gd name="connsiteX8" fmla="*/ 2334286 w 2997226"/>
                <a:gd name="connsiteY8" fmla="*/ 312420 h 3431851"/>
                <a:gd name="connsiteX9" fmla="*/ 2349526 w 2997226"/>
                <a:gd name="connsiteY9" fmla="*/ 358140 h 3431851"/>
                <a:gd name="connsiteX10" fmla="*/ 2410486 w 2997226"/>
                <a:gd name="connsiteY10" fmla="*/ 312420 h 3431851"/>
                <a:gd name="connsiteX11" fmla="*/ 2448586 w 2997226"/>
                <a:gd name="connsiteY11" fmla="*/ 457200 h 3431851"/>
                <a:gd name="connsiteX12" fmla="*/ 2547646 w 2997226"/>
                <a:gd name="connsiteY12" fmla="*/ 449580 h 3431851"/>
                <a:gd name="connsiteX13" fmla="*/ 2555266 w 2997226"/>
                <a:gd name="connsiteY13" fmla="*/ 381000 h 3431851"/>
                <a:gd name="connsiteX14" fmla="*/ 2578126 w 2997226"/>
                <a:gd name="connsiteY14" fmla="*/ 358140 h 3431851"/>
                <a:gd name="connsiteX15" fmla="*/ 2623846 w 2997226"/>
                <a:gd name="connsiteY15" fmla="*/ 396240 h 3431851"/>
                <a:gd name="connsiteX16" fmla="*/ 2654326 w 2997226"/>
                <a:gd name="connsiteY16" fmla="*/ 609600 h 3431851"/>
                <a:gd name="connsiteX17" fmla="*/ 2631466 w 2997226"/>
                <a:gd name="connsiteY17" fmla="*/ 624840 h 3431851"/>
                <a:gd name="connsiteX18" fmla="*/ 2661946 w 2997226"/>
                <a:gd name="connsiteY18" fmla="*/ 754380 h 3431851"/>
                <a:gd name="connsiteX19" fmla="*/ 2646706 w 2997226"/>
                <a:gd name="connsiteY19" fmla="*/ 784860 h 3431851"/>
                <a:gd name="connsiteX20" fmla="*/ 2661946 w 2997226"/>
                <a:gd name="connsiteY20" fmla="*/ 883920 h 3431851"/>
                <a:gd name="connsiteX21" fmla="*/ 2761006 w 2997226"/>
                <a:gd name="connsiteY21" fmla="*/ 990600 h 3431851"/>
                <a:gd name="connsiteX22" fmla="*/ 2722906 w 2997226"/>
                <a:gd name="connsiteY22" fmla="*/ 1043940 h 3431851"/>
                <a:gd name="connsiteX23" fmla="*/ 2776246 w 2997226"/>
                <a:gd name="connsiteY23" fmla="*/ 1143000 h 3431851"/>
                <a:gd name="connsiteX24" fmla="*/ 2867686 w 2997226"/>
                <a:gd name="connsiteY24" fmla="*/ 1158240 h 3431851"/>
                <a:gd name="connsiteX25" fmla="*/ 2966746 w 2997226"/>
                <a:gd name="connsiteY25" fmla="*/ 1310640 h 3431851"/>
                <a:gd name="connsiteX26" fmla="*/ 2928646 w 2997226"/>
                <a:gd name="connsiteY26" fmla="*/ 1524000 h 3431851"/>
                <a:gd name="connsiteX27" fmla="*/ 2981986 w 2997226"/>
                <a:gd name="connsiteY27" fmla="*/ 1584960 h 3431851"/>
                <a:gd name="connsiteX28" fmla="*/ 2997226 w 2997226"/>
                <a:gd name="connsiteY28" fmla="*/ 1676400 h 3431851"/>
                <a:gd name="connsiteX29" fmla="*/ 2867686 w 2997226"/>
                <a:gd name="connsiteY29" fmla="*/ 1706880 h 3431851"/>
                <a:gd name="connsiteX30" fmla="*/ 2844826 w 2997226"/>
                <a:gd name="connsiteY30" fmla="*/ 1661160 h 3431851"/>
                <a:gd name="connsiteX31" fmla="*/ 2768626 w 2997226"/>
                <a:gd name="connsiteY31" fmla="*/ 1661160 h 3431851"/>
                <a:gd name="connsiteX32" fmla="*/ 2768626 w 2997226"/>
                <a:gd name="connsiteY32" fmla="*/ 1706880 h 3431851"/>
                <a:gd name="connsiteX33" fmla="*/ 2829586 w 2997226"/>
                <a:gd name="connsiteY33" fmla="*/ 1783080 h 3431851"/>
                <a:gd name="connsiteX34" fmla="*/ 2814346 w 2997226"/>
                <a:gd name="connsiteY34" fmla="*/ 1912620 h 3431851"/>
                <a:gd name="connsiteX35" fmla="*/ 2661946 w 2997226"/>
                <a:gd name="connsiteY35" fmla="*/ 2011680 h 3431851"/>
                <a:gd name="connsiteX36" fmla="*/ 2608606 w 2997226"/>
                <a:gd name="connsiteY36" fmla="*/ 1973580 h 3431851"/>
                <a:gd name="connsiteX37" fmla="*/ 2517166 w 2997226"/>
                <a:gd name="connsiteY37" fmla="*/ 2133600 h 3431851"/>
                <a:gd name="connsiteX38" fmla="*/ 2639086 w 2997226"/>
                <a:gd name="connsiteY38" fmla="*/ 2545080 h 3431851"/>
                <a:gd name="connsiteX39" fmla="*/ 2608606 w 2997226"/>
                <a:gd name="connsiteY39" fmla="*/ 2865120 h 3431851"/>
                <a:gd name="connsiteX40" fmla="*/ 2639086 w 2997226"/>
                <a:gd name="connsiteY40" fmla="*/ 2956560 h 3431851"/>
                <a:gd name="connsiteX41" fmla="*/ 2600986 w 2997226"/>
                <a:gd name="connsiteY41" fmla="*/ 3009900 h 3431851"/>
                <a:gd name="connsiteX42" fmla="*/ 2646706 w 2997226"/>
                <a:gd name="connsiteY42" fmla="*/ 3139440 h 3431851"/>
                <a:gd name="connsiteX43" fmla="*/ 2600986 w 2997226"/>
                <a:gd name="connsiteY43" fmla="*/ 3208020 h 3431851"/>
                <a:gd name="connsiteX44" fmla="*/ 2372386 w 2997226"/>
                <a:gd name="connsiteY44" fmla="*/ 3177540 h 3431851"/>
                <a:gd name="connsiteX45" fmla="*/ 2280946 w 2997226"/>
                <a:gd name="connsiteY45" fmla="*/ 3276600 h 3431851"/>
                <a:gd name="connsiteX46" fmla="*/ 2251997 w 2997226"/>
                <a:gd name="connsiteY46" fmla="*/ 3327919 h 3431851"/>
                <a:gd name="connsiteX47" fmla="*/ 2191575 w 2997226"/>
                <a:gd name="connsiteY47" fmla="*/ 3327919 h 3431851"/>
                <a:gd name="connsiteX48" fmla="*/ 2087643 w 2997226"/>
                <a:gd name="connsiteY48" fmla="*/ 3431851 h 3431851"/>
                <a:gd name="connsiteX49" fmla="*/ 2087643 w 2997226"/>
                <a:gd name="connsiteY49" fmla="*/ 3431456 h 3431851"/>
                <a:gd name="connsiteX50" fmla="*/ 2025029 w 2997226"/>
                <a:gd name="connsiteY50" fmla="*/ 3431456 h 3431851"/>
                <a:gd name="connsiteX51" fmla="*/ 2033485 w 2997226"/>
                <a:gd name="connsiteY51" fmla="*/ 3406855 h 3431851"/>
                <a:gd name="connsiteX52" fmla="*/ 1492268 w 2997226"/>
                <a:gd name="connsiteY52" fmla="*/ 3159779 h 3431851"/>
                <a:gd name="connsiteX53" fmla="*/ 1386376 w 2997226"/>
                <a:gd name="connsiteY53" fmla="*/ 3218605 h 3431851"/>
                <a:gd name="connsiteX54" fmla="*/ 1174596 w 2997226"/>
                <a:gd name="connsiteY54" fmla="*/ 3042122 h 3431851"/>
                <a:gd name="connsiteX55" fmla="*/ 1104002 w 2997226"/>
                <a:gd name="connsiteY55" fmla="*/ 2947998 h 3431851"/>
                <a:gd name="connsiteX56" fmla="*/ 880455 w 2997226"/>
                <a:gd name="connsiteY56" fmla="*/ 3053887 h 3431851"/>
                <a:gd name="connsiteX57" fmla="*/ 1092238 w 2997226"/>
                <a:gd name="connsiteY57" fmla="*/ 3183310 h 3431851"/>
                <a:gd name="connsiteX58" fmla="*/ 1092238 w 2997226"/>
                <a:gd name="connsiteY58" fmla="*/ 3195074 h 3431851"/>
                <a:gd name="connsiteX59" fmla="*/ 962815 w 2997226"/>
                <a:gd name="connsiteY59" fmla="*/ 3289199 h 3431851"/>
                <a:gd name="connsiteX60" fmla="*/ 715739 w 2997226"/>
                <a:gd name="connsiteY60" fmla="*/ 3183310 h 3431851"/>
                <a:gd name="connsiteX61" fmla="*/ 527489 w 2997226"/>
                <a:gd name="connsiteY61" fmla="*/ 3324497 h 3431851"/>
                <a:gd name="connsiteX62" fmla="*/ 327473 w 2997226"/>
                <a:gd name="connsiteY62" fmla="*/ 3265668 h 3431851"/>
                <a:gd name="connsiteX63" fmla="*/ 245115 w 2997226"/>
                <a:gd name="connsiteY63" fmla="*/ 3312730 h 3431851"/>
                <a:gd name="connsiteX64" fmla="*/ 127459 w 2997226"/>
                <a:gd name="connsiteY64" fmla="*/ 3265668 h 3431851"/>
                <a:gd name="connsiteX65" fmla="*/ 88502 w 2997226"/>
                <a:gd name="connsiteY65" fmla="*/ 3249076 h 3431851"/>
                <a:gd name="connsiteX66" fmla="*/ 0 w 2997226"/>
                <a:gd name="connsiteY66" fmla="*/ 3072069 h 3431851"/>
                <a:gd name="connsiteX67" fmla="*/ 136909 w 2997226"/>
                <a:gd name="connsiteY67" fmla="*/ 2729798 h 3431851"/>
                <a:gd name="connsiteX68" fmla="*/ 68454 w 2997226"/>
                <a:gd name="connsiteY68" fmla="*/ 2501616 h 3431851"/>
                <a:gd name="connsiteX69" fmla="*/ 296634 w 2997226"/>
                <a:gd name="connsiteY69" fmla="*/ 1931163 h 3431851"/>
                <a:gd name="connsiteX70" fmla="*/ 205363 w 2997226"/>
                <a:gd name="connsiteY70" fmla="*/ 1817071 h 3431851"/>
                <a:gd name="connsiteX71" fmla="*/ 678654 w 2997226"/>
                <a:gd name="connsiteY71" fmla="*/ 1298704 h 3431851"/>
                <a:gd name="connsiteX72" fmla="*/ 684556 w 2997226"/>
                <a:gd name="connsiteY72" fmla="*/ 1301434 h 3431851"/>
                <a:gd name="connsiteX73" fmla="*/ 836956 w 2997226"/>
                <a:gd name="connsiteY73" fmla="*/ 1068071 h 3431851"/>
                <a:gd name="connsiteX74" fmla="*/ 925856 w 2997226"/>
                <a:gd name="connsiteY74" fmla="*/ 877571 h 3431851"/>
                <a:gd name="connsiteX75" fmla="*/ 887756 w 2997226"/>
                <a:gd name="connsiteY75" fmla="*/ 858521 h 3431851"/>
                <a:gd name="connsiteX76" fmla="*/ 995706 w 2997226"/>
                <a:gd name="connsiteY76" fmla="*/ 750571 h 3431851"/>
                <a:gd name="connsiteX77" fmla="*/ 951256 w 2997226"/>
                <a:gd name="connsiteY77" fmla="*/ 680721 h 3431851"/>
                <a:gd name="connsiteX78" fmla="*/ 1008406 w 2997226"/>
                <a:gd name="connsiteY78" fmla="*/ 528321 h 3431851"/>
                <a:gd name="connsiteX79" fmla="*/ 951256 w 2997226"/>
                <a:gd name="connsiteY79" fmla="*/ 502921 h 3431851"/>
                <a:gd name="connsiteX80" fmla="*/ 944906 w 2997226"/>
                <a:gd name="connsiteY80" fmla="*/ 344171 h 3431851"/>
                <a:gd name="connsiteX81" fmla="*/ 969782 w 2997226"/>
                <a:gd name="connsiteY81" fmla="*/ 329770 h 3431851"/>
                <a:gd name="connsiteX82" fmla="*/ 938556 w 2997226"/>
                <a:gd name="connsiteY82" fmla="*/ 312422 h 3431851"/>
                <a:gd name="connsiteX83" fmla="*/ 888833 w 2997226"/>
                <a:gd name="connsiteY83" fmla="*/ 185854 h 3431851"/>
                <a:gd name="connsiteX84" fmla="*/ 888834 w 2997226"/>
                <a:gd name="connsiteY84" fmla="*/ 185854 h 3431851"/>
                <a:gd name="connsiteX85" fmla="*/ 938556 w 2997226"/>
                <a:gd name="connsiteY85" fmla="*/ 312420 h 3431851"/>
                <a:gd name="connsiteX86" fmla="*/ 1052856 w 2997226"/>
                <a:gd name="connsiteY86" fmla="*/ 375920 h 3431851"/>
                <a:gd name="connsiteX87" fmla="*/ 1116356 w 2997226"/>
                <a:gd name="connsiteY87" fmla="*/ 356870 h 3431851"/>
                <a:gd name="connsiteX88" fmla="*/ 1110006 w 2997226"/>
                <a:gd name="connsiteY88" fmla="*/ 248920 h 3431851"/>
                <a:gd name="connsiteX89" fmla="*/ 1205256 w 2997226"/>
                <a:gd name="connsiteY89" fmla="*/ 236220 h 3431851"/>
                <a:gd name="connsiteX90" fmla="*/ 1211606 w 2997226"/>
                <a:gd name="connsiteY90" fmla="*/ 375920 h 3431851"/>
                <a:gd name="connsiteX91" fmla="*/ 1287806 w 2997226"/>
                <a:gd name="connsiteY91" fmla="*/ 363220 h 3431851"/>
                <a:gd name="connsiteX92" fmla="*/ 1344956 w 2997226"/>
                <a:gd name="connsiteY92" fmla="*/ 401320 h 3431851"/>
                <a:gd name="connsiteX93" fmla="*/ 1306856 w 2997226"/>
                <a:gd name="connsiteY93" fmla="*/ 534670 h 3431851"/>
                <a:gd name="connsiteX94" fmla="*/ 1433856 w 2997226"/>
                <a:gd name="connsiteY94" fmla="*/ 471170 h 3431851"/>
                <a:gd name="connsiteX95" fmla="*/ 1452906 w 2997226"/>
                <a:gd name="connsiteY95" fmla="*/ 401320 h 3431851"/>
                <a:gd name="connsiteX96" fmla="*/ 1598956 w 2997226"/>
                <a:gd name="connsiteY96" fmla="*/ 382270 h 3431851"/>
                <a:gd name="connsiteX97" fmla="*/ 1548156 w 2997226"/>
                <a:gd name="connsiteY97" fmla="*/ 299720 h 3431851"/>
                <a:gd name="connsiteX98" fmla="*/ 1548156 w 2997226"/>
                <a:gd name="connsiteY98" fmla="*/ 271611 h 3431851"/>
                <a:gd name="connsiteX99" fmla="*/ 1610386 w 2997226"/>
                <a:gd name="connsiteY99" fmla="*/ 304800 h 3431851"/>
                <a:gd name="connsiteX100" fmla="*/ 1838986 w 2997226"/>
                <a:gd name="connsiteY100" fmla="*/ 289560 h 3431851"/>
                <a:gd name="connsiteX101" fmla="*/ 1869466 w 2997226"/>
                <a:gd name="connsiteY101" fmla="*/ 190500 h 3431851"/>
                <a:gd name="connsiteX102" fmla="*/ 1953286 w 2997226"/>
                <a:gd name="connsiteY102" fmla="*/ 190500 h 3431851"/>
                <a:gd name="connsiteX103" fmla="*/ 1945666 w 2997226"/>
                <a:gd name="connsiteY103" fmla="*/ 114300 h 3431851"/>
                <a:gd name="connsiteX104" fmla="*/ 1831366 w 2997226"/>
                <a:gd name="connsiteY104" fmla="*/ 53340 h 3431851"/>
                <a:gd name="connsiteX0" fmla="*/ 1976146 w 2997226"/>
                <a:gd name="connsiteY0" fmla="*/ 0 h 3431851"/>
                <a:gd name="connsiteX1" fmla="*/ 2174266 w 2997226"/>
                <a:gd name="connsiteY1" fmla="*/ 15240 h 3431851"/>
                <a:gd name="connsiteX2" fmla="*/ 2166646 w 2997226"/>
                <a:gd name="connsiteY2" fmla="*/ 160020 h 3431851"/>
                <a:gd name="connsiteX3" fmla="*/ 2250466 w 2997226"/>
                <a:gd name="connsiteY3" fmla="*/ 106680 h 3431851"/>
                <a:gd name="connsiteX4" fmla="*/ 2265706 w 2997226"/>
                <a:gd name="connsiteY4" fmla="*/ 167640 h 3431851"/>
                <a:gd name="connsiteX5" fmla="*/ 2303806 w 2997226"/>
                <a:gd name="connsiteY5" fmla="*/ 68580 h 3431851"/>
                <a:gd name="connsiteX6" fmla="*/ 2334286 w 2997226"/>
                <a:gd name="connsiteY6" fmla="*/ 121920 h 3431851"/>
                <a:gd name="connsiteX7" fmla="*/ 2402866 w 2997226"/>
                <a:gd name="connsiteY7" fmla="*/ 251460 h 3431851"/>
                <a:gd name="connsiteX8" fmla="*/ 2334286 w 2997226"/>
                <a:gd name="connsiteY8" fmla="*/ 312420 h 3431851"/>
                <a:gd name="connsiteX9" fmla="*/ 2349526 w 2997226"/>
                <a:gd name="connsiteY9" fmla="*/ 358140 h 3431851"/>
                <a:gd name="connsiteX10" fmla="*/ 2410486 w 2997226"/>
                <a:gd name="connsiteY10" fmla="*/ 312420 h 3431851"/>
                <a:gd name="connsiteX11" fmla="*/ 2448586 w 2997226"/>
                <a:gd name="connsiteY11" fmla="*/ 457200 h 3431851"/>
                <a:gd name="connsiteX12" fmla="*/ 2547646 w 2997226"/>
                <a:gd name="connsiteY12" fmla="*/ 449580 h 3431851"/>
                <a:gd name="connsiteX13" fmla="*/ 2555266 w 2997226"/>
                <a:gd name="connsiteY13" fmla="*/ 381000 h 3431851"/>
                <a:gd name="connsiteX14" fmla="*/ 2578126 w 2997226"/>
                <a:gd name="connsiteY14" fmla="*/ 358140 h 3431851"/>
                <a:gd name="connsiteX15" fmla="*/ 2623846 w 2997226"/>
                <a:gd name="connsiteY15" fmla="*/ 396240 h 3431851"/>
                <a:gd name="connsiteX16" fmla="*/ 2654326 w 2997226"/>
                <a:gd name="connsiteY16" fmla="*/ 609600 h 3431851"/>
                <a:gd name="connsiteX17" fmla="*/ 2631466 w 2997226"/>
                <a:gd name="connsiteY17" fmla="*/ 624840 h 3431851"/>
                <a:gd name="connsiteX18" fmla="*/ 2661946 w 2997226"/>
                <a:gd name="connsiteY18" fmla="*/ 754380 h 3431851"/>
                <a:gd name="connsiteX19" fmla="*/ 2646706 w 2997226"/>
                <a:gd name="connsiteY19" fmla="*/ 784860 h 3431851"/>
                <a:gd name="connsiteX20" fmla="*/ 2661946 w 2997226"/>
                <a:gd name="connsiteY20" fmla="*/ 883920 h 3431851"/>
                <a:gd name="connsiteX21" fmla="*/ 2761006 w 2997226"/>
                <a:gd name="connsiteY21" fmla="*/ 990600 h 3431851"/>
                <a:gd name="connsiteX22" fmla="*/ 2722906 w 2997226"/>
                <a:gd name="connsiteY22" fmla="*/ 1043940 h 3431851"/>
                <a:gd name="connsiteX23" fmla="*/ 2776246 w 2997226"/>
                <a:gd name="connsiteY23" fmla="*/ 1143000 h 3431851"/>
                <a:gd name="connsiteX24" fmla="*/ 2867686 w 2997226"/>
                <a:gd name="connsiteY24" fmla="*/ 1158240 h 3431851"/>
                <a:gd name="connsiteX25" fmla="*/ 2966746 w 2997226"/>
                <a:gd name="connsiteY25" fmla="*/ 1310640 h 3431851"/>
                <a:gd name="connsiteX26" fmla="*/ 2928646 w 2997226"/>
                <a:gd name="connsiteY26" fmla="*/ 1524000 h 3431851"/>
                <a:gd name="connsiteX27" fmla="*/ 2981986 w 2997226"/>
                <a:gd name="connsiteY27" fmla="*/ 1584960 h 3431851"/>
                <a:gd name="connsiteX28" fmla="*/ 2997226 w 2997226"/>
                <a:gd name="connsiteY28" fmla="*/ 1676400 h 3431851"/>
                <a:gd name="connsiteX29" fmla="*/ 2867686 w 2997226"/>
                <a:gd name="connsiteY29" fmla="*/ 1706880 h 3431851"/>
                <a:gd name="connsiteX30" fmla="*/ 2844826 w 2997226"/>
                <a:gd name="connsiteY30" fmla="*/ 1661160 h 3431851"/>
                <a:gd name="connsiteX31" fmla="*/ 2768626 w 2997226"/>
                <a:gd name="connsiteY31" fmla="*/ 1661160 h 3431851"/>
                <a:gd name="connsiteX32" fmla="*/ 2768626 w 2997226"/>
                <a:gd name="connsiteY32" fmla="*/ 1706880 h 3431851"/>
                <a:gd name="connsiteX33" fmla="*/ 2829586 w 2997226"/>
                <a:gd name="connsiteY33" fmla="*/ 1783080 h 3431851"/>
                <a:gd name="connsiteX34" fmla="*/ 2814346 w 2997226"/>
                <a:gd name="connsiteY34" fmla="*/ 1912620 h 3431851"/>
                <a:gd name="connsiteX35" fmla="*/ 2661946 w 2997226"/>
                <a:gd name="connsiteY35" fmla="*/ 2011680 h 3431851"/>
                <a:gd name="connsiteX36" fmla="*/ 2608606 w 2997226"/>
                <a:gd name="connsiteY36" fmla="*/ 1973580 h 3431851"/>
                <a:gd name="connsiteX37" fmla="*/ 2517166 w 2997226"/>
                <a:gd name="connsiteY37" fmla="*/ 2133600 h 3431851"/>
                <a:gd name="connsiteX38" fmla="*/ 2639086 w 2997226"/>
                <a:gd name="connsiteY38" fmla="*/ 2545080 h 3431851"/>
                <a:gd name="connsiteX39" fmla="*/ 2608606 w 2997226"/>
                <a:gd name="connsiteY39" fmla="*/ 2865120 h 3431851"/>
                <a:gd name="connsiteX40" fmla="*/ 2639086 w 2997226"/>
                <a:gd name="connsiteY40" fmla="*/ 2956560 h 3431851"/>
                <a:gd name="connsiteX41" fmla="*/ 2600986 w 2997226"/>
                <a:gd name="connsiteY41" fmla="*/ 3009900 h 3431851"/>
                <a:gd name="connsiteX42" fmla="*/ 2646706 w 2997226"/>
                <a:gd name="connsiteY42" fmla="*/ 3139440 h 3431851"/>
                <a:gd name="connsiteX43" fmla="*/ 2600986 w 2997226"/>
                <a:gd name="connsiteY43" fmla="*/ 3208020 h 3431851"/>
                <a:gd name="connsiteX44" fmla="*/ 2372386 w 2997226"/>
                <a:gd name="connsiteY44" fmla="*/ 3177540 h 3431851"/>
                <a:gd name="connsiteX45" fmla="*/ 2280946 w 2997226"/>
                <a:gd name="connsiteY45" fmla="*/ 3276600 h 3431851"/>
                <a:gd name="connsiteX46" fmla="*/ 2251997 w 2997226"/>
                <a:gd name="connsiteY46" fmla="*/ 3327919 h 3431851"/>
                <a:gd name="connsiteX47" fmla="*/ 2191575 w 2997226"/>
                <a:gd name="connsiteY47" fmla="*/ 3327919 h 3431851"/>
                <a:gd name="connsiteX48" fmla="*/ 2087643 w 2997226"/>
                <a:gd name="connsiteY48" fmla="*/ 3431851 h 3431851"/>
                <a:gd name="connsiteX49" fmla="*/ 2087643 w 2997226"/>
                <a:gd name="connsiteY49" fmla="*/ 3431456 h 3431851"/>
                <a:gd name="connsiteX50" fmla="*/ 2025029 w 2997226"/>
                <a:gd name="connsiteY50" fmla="*/ 3431456 h 3431851"/>
                <a:gd name="connsiteX51" fmla="*/ 2033485 w 2997226"/>
                <a:gd name="connsiteY51" fmla="*/ 3406855 h 3431851"/>
                <a:gd name="connsiteX52" fmla="*/ 1492268 w 2997226"/>
                <a:gd name="connsiteY52" fmla="*/ 3159779 h 3431851"/>
                <a:gd name="connsiteX53" fmla="*/ 1386376 w 2997226"/>
                <a:gd name="connsiteY53" fmla="*/ 3218605 h 3431851"/>
                <a:gd name="connsiteX54" fmla="*/ 1174596 w 2997226"/>
                <a:gd name="connsiteY54" fmla="*/ 3042122 h 3431851"/>
                <a:gd name="connsiteX55" fmla="*/ 1104002 w 2997226"/>
                <a:gd name="connsiteY55" fmla="*/ 2947998 h 3431851"/>
                <a:gd name="connsiteX56" fmla="*/ 880455 w 2997226"/>
                <a:gd name="connsiteY56" fmla="*/ 3053887 h 3431851"/>
                <a:gd name="connsiteX57" fmla="*/ 1092238 w 2997226"/>
                <a:gd name="connsiteY57" fmla="*/ 3183310 h 3431851"/>
                <a:gd name="connsiteX58" fmla="*/ 1092238 w 2997226"/>
                <a:gd name="connsiteY58" fmla="*/ 3195074 h 3431851"/>
                <a:gd name="connsiteX59" fmla="*/ 962815 w 2997226"/>
                <a:gd name="connsiteY59" fmla="*/ 3289199 h 3431851"/>
                <a:gd name="connsiteX60" fmla="*/ 715739 w 2997226"/>
                <a:gd name="connsiteY60" fmla="*/ 3183310 h 3431851"/>
                <a:gd name="connsiteX61" fmla="*/ 527489 w 2997226"/>
                <a:gd name="connsiteY61" fmla="*/ 3324497 h 3431851"/>
                <a:gd name="connsiteX62" fmla="*/ 327473 w 2997226"/>
                <a:gd name="connsiteY62" fmla="*/ 3265668 h 3431851"/>
                <a:gd name="connsiteX63" fmla="*/ 245115 w 2997226"/>
                <a:gd name="connsiteY63" fmla="*/ 3312730 h 3431851"/>
                <a:gd name="connsiteX64" fmla="*/ 127459 w 2997226"/>
                <a:gd name="connsiteY64" fmla="*/ 3265668 h 3431851"/>
                <a:gd name="connsiteX65" fmla="*/ 88502 w 2997226"/>
                <a:gd name="connsiteY65" fmla="*/ 3249076 h 3431851"/>
                <a:gd name="connsiteX66" fmla="*/ 0 w 2997226"/>
                <a:gd name="connsiteY66" fmla="*/ 3072069 h 3431851"/>
                <a:gd name="connsiteX67" fmla="*/ 136909 w 2997226"/>
                <a:gd name="connsiteY67" fmla="*/ 2729798 h 3431851"/>
                <a:gd name="connsiteX68" fmla="*/ 68454 w 2997226"/>
                <a:gd name="connsiteY68" fmla="*/ 2501616 h 3431851"/>
                <a:gd name="connsiteX69" fmla="*/ 296634 w 2997226"/>
                <a:gd name="connsiteY69" fmla="*/ 1931163 h 3431851"/>
                <a:gd name="connsiteX70" fmla="*/ 205363 w 2997226"/>
                <a:gd name="connsiteY70" fmla="*/ 1817071 h 3431851"/>
                <a:gd name="connsiteX71" fmla="*/ 678654 w 2997226"/>
                <a:gd name="connsiteY71" fmla="*/ 1298704 h 3431851"/>
                <a:gd name="connsiteX72" fmla="*/ 684556 w 2997226"/>
                <a:gd name="connsiteY72" fmla="*/ 1301434 h 3431851"/>
                <a:gd name="connsiteX73" fmla="*/ 836956 w 2997226"/>
                <a:gd name="connsiteY73" fmla="*/ 1068071 h 3431851"/>
                <a:gd name="connsiteX74" fmla="*/ 925856 w 2997226"/>
                <a:gd name="connsiteY74" fmla="*/ 877571 h 3431851"/>
                <a:gd name="connsiteX75" fmla="*/ 887756 w 2997226"/>
                <a:gd name="connsiteY75" fmla="*/ 858521 h 3431851"/>
                <a:gd name="connsiteX76" fmla="*/ 995706 w 2997226"/>
                <a:gd name="connsiteY76" fmla="*/ 750571 h 3431851"/>
                <a:gd name="connsiteX77" fmla="*/ 951256 w 2997226"/>
                <a:gd name="connsiteY77" fmla="*/ 680721 h 3431851"/>
                <a:gd name="connsiteX78" fmla="*/ 1008406 w 2997226"/>
                <a:gd name="connsiteY78" fmla="*/ 528321 h 3431851"/>
                <a:gd name="connsiteX79" fmla="*/ 951256 w 2997226"/>
                <a:gd name="connsiteY79" fmla="*/ 502921 h 3431851"/>
                <a:gd name="connsiteX80" fmla="*/ 944906 w 2997226"/>
                <a:gd name="connsiteY80" fmla="*/ 344171 h 3431851"/>
                <a:gd name="connsiteX81" fmla="*/ 969782 w 2997226"/>
                <a:gd name="connsiteY81" fmla="*/ 329770 h 3431851"/>
                <a:gd name="connsiteX82" fmla="*/ 938556 w 2997226"/>
                <a:gd name="connsiteY82" fmla="*/ 312422 h 3431851"/>
                <a:gd name="connsiteX83" fmla="*/ 888833 w 2997226"/>
                <a:gd name="connsiteY83" fmla="*/ 185854 h 3431851"/>
                <a:gd name="connsiteX84" fmla="*/ 938556 w 2997226"/>
                <a:gd name="connsiteY84" fmla="*/ 312420 h 3431851"/>
                <a:gd name="connsiteX85" fmla="*/ 1052856 w 2997226"/>
                <a:gd name="connsiteY85" fmla="*/ 375920 h 3431851"/>
                <a:gd name="connsiteX86" fmla="*/ 1116356 w 2997226"/>
                <a:gd name="connsiteY86" fmla="*/ 356870 h 3431851"/>
                <a:gd name="connsiteX87" fmla="*/ 1110006 w 2997226"/>
                <a:gd name="connsiteY87" fmla="*/ 248920 h 3431851"/>
                <a:gd name="connsiteX88" fmla="*/ 1205256 w 2997226"/>
                <a:gd name="connsiteY88" fmla="*/ 236220 h 3431851"/>
                <a:gd name="connsiteX89" fmla="*/ 1211606 w 2997226"/>
                <a:gd name="connsiteY89" fmla="*/ 375920 h 3431851"/>
                <a:gd name="connsiteX90" fmla="*/ 1287806 w 2997226"/>
                <a:gd name="connsiteY90" fmla="*/ 363220 h 3431851"/>
                <a:gd name="connsiteX91" fmla="*/ 1344956 w 2997226"/>
                <a:gd name="connsiteY91" fmla="*/ 401320 h 3431851"/>
                <a:gd name="connsiteX92" fmla="*/ 1306856 w 2997226"/>
                <a:gd name="connsiteY92" fmla="*/ 534670 h 3431851"/>
                <a:gd name="connsiteX93" fmla="*/ 1433856 w 2997226"/>
                <a:gd name="connsiteY93" fmla="*/ 471170 h 3431851"/>
                <a:gd name="connsiteX94" fmla="*/ 1452906 w 2997226"/>
                <a:gd name="connsiteY94" fmla="*/ 401320 h 3431851"/>
                <a:gd name="connsiteX95" fmla="*/ 1598956 w 2997226"/>
                <a:gd name="connsiteY95" fmla="*/ 382270 h 3431851"/>
                <a:gd name="connsiteX96" fmla="*/ 1548156 w 2997226"/>
                <a:gd name="connsiteY96" fmla="*/ 299720 h 3431851"/>
                <a:gd name="connsiteX97" fmla="*/ 1548156 w 2997226"/>
                <a:gd name="connsiteY97" fmla="*/ 271611 h 3431851"/>
                <a:gd name="connsiteX98" fmla="*/ 1610386 w 2997226"/>
                <a:gd name="connsiteY98" fmla="*/ 304800 h 3431851"/>
                <a:gd name="connsiteX99" fmla="*/ 1838986 w 2997226"/>
                <a:gd name="connsiteY99" fmla="*/ 289560 h 3431851"/>
                <a:gd name="connsiteX100" fmla="*/ 1869466 w 2997226"/>
                <a:gd name="connsiteY100" fmla="*/ 190500 h 3431851"/>
                <a:gd name="connsiteX101" fmla="*/ 1953286 w 2997226"/>
                <a:gd name="connsiteY101" fmla="*/ 190500 h 3431851"/>
                <a:gd name="connsiteX102" fmla="*/ 1945666 w 2997226"/>
                <a:gd name="connsiteY102" fmla="*/ 114300 h 3431851"/>
                <a:gd name="connsiteX103" fmla="*/ 1831366 w 2997226"/>
                <a:gd name="connsiteY103" fmla="*/ 53340 h 3431851"/>
                <a:gd name="connsiteX104" fmla="*/ 1976146 w 2997226"/>
                <a:gd name="connsiteY104" fmla="*/ 0 h 3431851"/>
                <a:gd name="connsiteX0" fmla="*/ 1976146 w 2997226"/>
                <a:gd name="connsiteY0" fmla="*/ 0 h 3431851"/>
                <a:gd name="connsiteX1" fmla="*/ 2174266 w 2997226"/>
                <a:gd name="connsiteY1" fmla="*/ 15240 h 3431851"/>
                <a:gd name="connsiteX2" fmla="*/ 2166646 w 2997226"/>
                <a:gd name="connsiteY2" fmla="*/ 160020 h 3431851"/>
                <a:gd name="connsiteX3" fmla="*/ 2250466 w 2997226"/>
                <a:gd name="connsiteY3" fmla="*/ 106680 h 3431851"/>
                <a:gd name="connsiteX4" fmla="*/ 2265706 w 2997226"/>
                <a:gd name="connsiteY4" fmla="*/ 167640 h 3431851"/>
                <a:gd name="connsiteX5" fmla="*/ 2303806 w 2997226"/>
                <a:gd name="connsiteY5" fmla="*/ 68580 h 3431851"/>
                <a:gd name="connsiteX6" fmla="*/ 2334286 w 2997226"/>
                <a:gd name="connsiteY6" fmla="*/ 121920 h 3431851"/>
                <a:gd name="connsiteX7" fmla="*/ 2402866 w 2997226"/>
                <a:gd name="connsiteY7" fmla="*/ 251460 h 3431851"/>
                <a:gd name="connsiteX8" fmla="*/ 2334286 w 2997226"/>
                <a:gd name="connsiteY8" fmla="*/ 312420 h 3431851"/>
                <a:gd name="connsiteX9" fmla="*/ 2349526 w 2997226"/>
                <a:gd name="connsiteY9" fmla="*/ 358140 h 3431851"/>
                <a:gd name="connsiteX10" fmla="*/ 2410486 w 2997226"/>
                <a:gd name="connsiteY10" fmla="*/ 312420 h 3431851"/>
                <a:gd name="connsiteX11" fmla="*/ 2448586 w 2997226"/>
                <a:gd name="connsiteY11" fmla="*/ 457200 h 3431851"/>
                <a:gd name="connsiteX12" fmla="*/ 2547646 w 2997226"/>
                <a:gd name="connsiteY12" fmla="*/ 449580 h 3431851"/>
                <a:gd name="connsiteX13" fmla="*/ 2555266 w 2997226"/>
                <a:gd name="connsiteY13" fmla="*/ 381000 h 3431851"/>
                <a:gd name="connsiteX14" fmla="*/ 2578126 w 2997226"/>
                <a:gd name="connsiteY14" fmla="*/ 358140 h 3431851"/>
                <a:gd name="connsiteX15" fmla="*/ 2623846 w 2997226"/>
                <a:gd name="connsiteY15" fmla="*/ 396240 h 3431851"/>
                <a:gd name="connsiteX16" fmla="*/ 2654326 w 2997226"/>
                <a:gd name="connsiteY16" fmla="*/ 609600 h 3431851"/>
                <a:gd name="connsiteX17" fmla="*/ 2631466 w 2997226"/>
                <a:gd name="connsiteY17" fmla="*/ 624840 h 3431851"/>
                <a:gd name="connsiteX18" fmla="*/ 2661946 w 2997226"/>
                <a:gd name="connsiteY18" fmla="*/ 754380 h 3431851"/>
                <a:gd name="connsiteX19" fmla="*/ 2646706 w 2997226"/>
                <a:gd name="connsiteY19" fmla="*/ 784860 h 3431851"/>
                <a:gd name="connsiteX20" fmla="*/ 2661946 w 2997226"/>
                <a:gd name="connsiteY20" fmla="*/ 883920 h 3431851"/>
                <a:gd name="connsiteX21" fmla="*/ 2761006 w 2997226"/>
                <a:gd name="connsiteY21" fmla="*/ 990600 h 3431851"/>
                <a:gd name="connsiteX22" fmla="*/ 2722906 w 2997226"/>
                <a:gd name="connsiteY22" fmla="*/ 1043940 h 3431851"/>
                <a:gd name="connsiteX23" fmla="*/ 2776246 w 2997226"/>
                <a:gd name="connsiteY23" fmla="*/ 1143000 h 3431851"/>
                <a:gd name="connsiteX24" fmla="*/ 2867686 w 2997226"/>
                <a:gd name="connsiteY24" fmla="*/ 1158240 h 3431851"/>
                <a:gd name="connsiteX25" fmla="*/ 2966746 w 2997226"/>
                <a:gd name="connsiteY25" fmla="*/ 1310640 h 3431851"/>
                <a:gd name="connsiteX26" fmla="*/ 2928646 w 2997226"/>
                <a:gd name="connsiteY26" fmla="*/ 1524000 h 3431851"/>
                <a:gd name="connsiteX27" fmla="*/ 2981986 w 2997226"/>
                <a:gd name="connsiteY27" fmla="*/ 1584960 h 3431851"/>
                <a:gd name="connsiteX28" fmla="*/ 2997226 w 2997226"/>
                <a:gd name="connsiteY28" fmla="*/ 1676400 h 3431851"/>
                <a:gd name="connsiteX29" fmla="*/ 2867686 w 2997226"/>
                <a:gd name="connsiteY29" fmla="*/ 1706880 h 3431851"/>
                <a:gd name="connsiteX30" fmla="*/ 2844826 w 2997226"/>
                <a:gd name="connsiteY30" fmla="*/ 1661160 h 3431851"/>
                <a:gd name="connsiteX31" fmla="*/ 2768626 w 2997226"/>
                <a:gd name="connsiteY31" fmla="*/ 1661160 h 3431851"/>
                <a:gd name="connsiteX32" fmla="*/ 2768626 w 2997226"/>
                <a:gd name="connsiteY32" fmla="*/ 1706880 h 3431851"/>
                <a:gd name="connsiteX33" fmla="*/ 2829586 w 2997226"/>
                <a:gd name="connsiteY33" fmla="*/ 1783080 h 3431851"/>
                <a:gd name="connsiteX34" fmla="*/ 2814346 w 2997226"/>
                <a:gd name="connsiteY34" fmla="*/ 1912620 h 3431851"/>
                <a:gd name="connsiteX35" fmla="*/ 2661946 w 2997226"/>
                <a:gd name="connsiteY35" fmla="*/ 2011680 h 3431851"/>
                <a:gd name="connsiteX36" fmla="*/ 2608606 w 2997226"/>
                <a:gd name="connsiteY36" fmla="*/ 1973580 h 3431851"/>
                <a:gd name="connsiteX37" fmla="*/ 2517166 w 2997226"/>
                <a:gd name="connsiteY37" fmla="*/ 2133600 h 3431851"/>
                <a:gd name="connsiteX38" fmla="*/ 2639086 w 2997226"/>
                <a:gd name="connsiteY38" fmla="*/ 2545080 h 3431851"/>
                <a:gd name="connsiteX39" fmla="*/ 2608606 w 2997226"/>
                <a:gd name="connsiteY39" fmla="*/ 2865120 h 3431851"/>
                <a:gd name="connsiteX40" fmla="*/ 2639086 w 2997226"/>
                <a:gd name="connsiteY40" fmla="*/ 2956560 h 3431851"/>
                <a:gd name="connsiteX41" fmla="*/ 2600986 w 2997226"/>
                <a:gd name="connsiteY41" fmla="*/ 3009900 h 3431851"/>
                <a:gd name="connsiteX42" fmla="*/ 2646706 w 2997226"/>
                <a:gd name="connsiteY42" fmla="*/ 3139440 h 3431851"/>
                <a:gd name="connsiteX43" fmla="*/ 2600986 w 2997226"/>
                <a:gd name="connsiteY43" fmla="*/ 3208020 h 3431851"/>
                <a:gd name="connsiteX44" fmla="*/ 2372386 w 2997226"/>
                <a:gd name="connsiteY44" fmla="*/ 3177540 h 3431851"/>
                <a:gd name="connsiteX45" fmla="*/ 2280946 w 2997226"/>
                <a:gd name="connsiteY45" fmla="*/ 3276600 h 3431851"/>
                <a:gd name="connsiteX46" fmla="*/ 2251997 w 2997226"/>
                <a:gd name="connsiteY46" fmla="*/ 3327919 h 3431851"/>
                <a:gd name="connsiteX47" fmla="*/ 2191575 w 2997226"/>
                <a:gd name="connsiteY47" fmla="*/ 3327919 h 3431851"/>
                <a:gd name="connsiteX48" fmla="*/ 2087643 w 2997226"/>
                <a:gd name="connsiteY48" fmla="*/ 3431851 h 3431851"/>
                <a:gd name="connsiteX49" fmla="*/ 2087643 w 2997226"/>
                <a:gd name="connsiteY49" fmla="*/ 3431456 h 3431851"/>
                <a:gd name="connsiteX50" fmla="*/ 2025029 w 2997226"/>
                <a:gd name="connsiteY50" fmla="*/ 3431456 h 3431851"/>
                <a:gd name="connsiteX51" fmla="*/ 2033485 w 2997226"/>
                <a:gd name="connsiteY51" fmla="*/ 3406855 h 3431851"/>
                <a:gd name="connsiteX52" fmla="*/ 1492268 w 2997226"/>
                <a:gd name="connsiteY52" fmla="*/ 3159779 h 3431851"/>
                <a:gd name="connsiteX53" fmla="*/ 1386376 w 2997226"/>
                <a:gd name="connsiteY53" fmla="*/ 3218605 h 3431851"/>
                <a:gd name="connsiteX54" fmla="*/ 1174596 w 2997226"/>
                <a:gd name="connsiteY54" fmla="*/ 3042122 h 3431851"/>
                <a:gd name="connsiteX55" fmla="*/ 1104002 w 2997226"/>
                <a:gd name="connsiteY55" fmla="*/ 2947998 h 3431851"/>
                <a:gd name="connsiteX56" fmla="*/ 880455 w 2997226"/>
                <a:gd name="connsiteY56" fmla="*/ 3053887 h 3431851"/>
                <a:gd name="connsiteX57" fmla="*/ 1092238 w 2997226"/>
                <a:gd name="connsiteY57" fmla="*/ 3183310 h 3431851"/>
                <a:gd name="connsiteX58" fmla="*/ 1092238 w 2997226"/>
                <a:gd name="connsiteY58" fmla="*/ 3195074 h 3431851"/>
                <a:gd name="connsiteX59" fmla="*/ 962815 w 2997226"/>
                <a:gd name="connsiteY59" fmla="*/ 3289199 h 3431851"/>
                <a:gd name="connsiteX60" fmla="*/ 715739 w 2997226"/>
                <a:gd name="connsiteY60" fmla="*/ 3183310 h 3431851"/>
                <a:gd name="connsiteX61" fmla="*/ 527489 w 2997226"/>
                <a:gd name="connsiteY61" fmla="*/ 3324497 h 3431851"/>
                <a:gd name="connsiteX62" fmla="*/ 327473 w 2997226"/>
                <a:gd name="connsiteY62" fmla="*/ 3265668 h 3431851"/>
                <a:gd name="connsiteX63" fmla="*/ 245115 w 2997226"/>
                <a:gd name="connsiteY63" fmla="*/ 3312730 h 3431851"/>
                <a:gd name="connsiteX64" fmla="*/ 127459 w 2997226"/>
                <a:gd name="connsiteY64" fmla="*/ 3265668 h 3431851"/>
                <a:gd name="connsiteX65" fmla="*/ 88502 w 2997226"/>
                <a:gd name="connsiteY65" fmla="*/ 3249076 h 3431851"/>
                <a:gd name="connsiteX66" fmla="*/ 0 w 2997226"/>
                <a:gd name="connsiteY66" fmla="*/ 3072069 h 3431851"/>
                <a:gd name="connsiteX67" fmla="*/ 136909 w 2997226"/>
                <a:gd name="connsiteY67" fmla="*/ 2729798 h 3431851"/>
                <a:gd name="connsiteX68" fmla="*/ 68454 w 2997226"/>
                <a:gd name="connsiteY68" fmla="*/ 2501616 h 3431851"/>
                <a:gd name="connsiteX69" fmla="*/ 296634 w 2997226"/>
                <a:gd name="connsiteY69" fmla="*/ 1931163 h 3431851"/>
                <a:gd name="connsiteX70" fmla="*/ 205363 w 2997226"/>
                <a:gd name="connsiteY70" fmla="*/ 1817071 h 3431851"/>
                <a:gd name="connsiteX71" fmla="*/ 678654 w 2997226"/>
                <a:gd name="connsiteY71" fmla="*/ 1298704 h 3431851"/>
                <a:gd name="connsiteX72" fmla="*/ 684556 w 2997226"/>
                <a:gd name="connsiteY72" fmla="*/ 1301434 h 3431851"/>
                <a:gd name="connsiteX73" fmla="*/ 836956 w 2997226"/>
                <a:gd name="connsiteY73" fmla="*/ 1068071 h 3431851"/>
                <a:gd name="connsiteX74" fmla="*/ 925856 w 2997226"/>
                <a:gd name="connsiteY74" fmla="*/ 877571 h 3431851"/>
                <a:gd name="connsiteX75" fmla="*/ 887756 w 2997226"/>
                <a:gd name="connsiteY75" fmla="*/ 858521 h 3431851"/>
                <a:gd name="connsiteX76" fmla="*/ 995706 w 2997226"/>
                <a:gd name="connsiteY76" fmla="*/ 750571 h 3431851"/>
                <a:gd name="connsiteX77" fmla="*/ 951256 w 2997226"/>
                <a:gd name="connsiteY77" fmla="*/ 680721 h 3431851"/>
                <a:gd name="connsiteX78" fmla="*/ 1008406 w 2997226"/>
                <a:gd name="connsiteY78" fmla="*/ 528321 h 3431851"/>
                <a:gd name="connsiteX79" fmla="*/ 951256 w 2997226"/>
                <a:gd name="connsiteY79" fmla="*/ 502921 h 3431851"/>
                <a:gd name="connsiteX80" fmla="*/ 944906 w 2997226"/>
                <a:gd name="connsiteY80" fmla="*/ 344171 h 3431851"/>
                <a:gd name="connsiteX81" fmla="*/ 969782 w 2997226"/>
                <a:gd name="connsiteY81" fmla="*/ 329770 h 3431851"/>
                <a:gd name="connsiteX82" fmla="*/ 938556 w 2997226"/>
                <a:gd name="connsiteY82" fmla="*/ 312422 h 3431851"/>
                <a:gd name="connsiteX83" fmla="*/ 938556 w 2997226"/>
                <a:gd name="connsiteY83" fmla="*/ 312420 h 3431851"/>
                <a:gd name="connsiteX84" fmla="*/ 1052856 w 2997226"/>
                <a:gd name="connsiteY84" fmla="*/ 375920 h 3431851"/>
                <a:gd name="connsiteX85" fmla="*/ 1116356 w 2997226"/>
                <a:gd name="connsiteY85" fmla="*/ 356870 h 3431851"/>
                <a:gd name="connsiteX86" fmla="*/ 1110006 w 2997226"/>
                <a:gd name="connsiteY86" fmla="*/ 248920 h 3431851"/>
                <a:gd name="connsiteX87" fmla="*/ 1205256 w 2997226"/>
                <a:gd name="connsiteY87" fmla="*/ 236220 h 3431851"/>
                <a:gd name="connsiteX88" fmla="*/ 1211606 w 2997226"/>
                <a:gd name="connsiteY88" fmla="*/ 375920 h 3431851"/>
                <a:gd name="connsiteX89" fmla="*/ 1287806 w 2997226"/>
                <a:gd name="connsiteY89" fmla="*/ 363220 h 3431851"/>
                <a:gd name="connsiteX90" fmla="*/ 1344956 w 2997226"/>
                <a:gd name="connsiteY90" fmla="*/ 401320 h 3431851"/>
                <a:gd name="connsiteX91" fmla="*/ 1306856 w 2997226"/>
                <a:gd name="connsiteY91" fmla="*/ 534670 h 3431851"/>
                <a:gd name="connsiteX92" fmla="*/ 1433856 w 2997226"/>
                <a:gd name="connsiteY92" fmla="*/ 471170 h 3431851"/>
                <a:gd name="connsiteX93" fmla="*/ 1452906 w 2997226"/>
                <a:gd name="connsiteY93" fmla="*/ 401320 h 3431851"/>
                <a:gd name="connsiteX94" fmla="*/ 1598956 w 2997226"/>
                <a:gd name="connsiteY94" fmla="*/ 382270 h 3431851"/>
                <a:gd name="connsiteX95" fmla="*/ 1548156 w 2997226"/>
                <a:gd name="connsiteY95" fmla="*/ 299720 h 3431851"/>
                <a:gd name="connsiteX96" fmla="*/ 1548156 w 2997226"/>
                <a:gd name="connsiteY96" fmla="*/ 271611 h 3431851"/>
                <a:gd name="connsiteX97" fmla="*/ 1610386 w 2997226"/>
                <a:gd name="connsiteY97" fmla="*/ 304800 h 3431851"/>
                <a:gd name="connsiteX98" fmla="*/ 1838986 w 2997226"/>
                <a:gd name="connsiteY98" fmla="*/ 289560 h 3431851"/>
                <a:gd name="connsiteX99" fmla="*/ 1869466 w 2997226"/>
                <a:gd name="connsiteY99" fmla="*/ 190500 h 3431851"/>
                <a:gd name="connsiteX100" fmla="*/ 1953286 w 2997226"/>
                <a:gd name="connsiteY100" fmla="*/ 190500 h 3431851"/>
                <a:gd name="connsiteX101" fmla="*/ 1945666 w 2997226"/>
                <a:gd name="connsiteY101" fmla="*/ 114300 h 3431851"/>
                <a:gd name="connsiteX102" fmla="*/ 1831366 w 2997226"/>
                <a:gd name="connsiteY102" fmla="*/ 53340 h 3431851"/>
                <a:gd name="connsiteX103" fmla="*/ 1976146 w 2997226"/>
                <a:gd name="connsiteY103" fmla="*/ 0 h 34318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</a:cxnLst>
              <a:rect l="l" t="t" r="r" b="b"/>
              <a:pathLst>
                <a:path w="2997226" h="3431851">
                  <a:moveTo>
                    <a:pt x="1976146" y="0"/>
                  </a:moveTo>
                  <a:lnTo>
                    <a:pt x="2174266" y="15240"/>
                  </a:lnTo>
                  <a:lnTo>
                    <a:pt x="2166646" y="160020"/>
                  </a:lnTo>
                  <a:lnTo>
                    <a:pt x="2250466" y="106680"/>
                  </a:lnTo>
                  <a:lnTo>
                    <a:pt x="2265706" y="167640"/>
                  </a:lnTo>
                  <a:lnTo>
                    <a:pt x="2303806" y="68580"/>
                  </a:lnTo>
                  <a:lnTo>
                    <a:pt x="2334286" y="121920"/>
                  </a:lnTo>
                  <a:lnTo>
                    <a:pt x="2402866" y="251460"/>
                  </a:lnTo>
                  <a:lnTo>
                    <a:pt x="2334286" y="312420"/>
                  </a:lnTo>
                  <a:lnTo>
                    <a:pt x="2349526" y="358140"/>
                  </a:lnTo>
                  <a:lnTo>
                    <a:pt x="2410486" y="312420"/>
                  </a:lnTo>
                  <a:lnTo>
                    <a:pt x="2448586" y="457200"/>
                  </a:lnTo>
                  <a:lnTo>
                    <a:pt x="2547646" y="449580"/>
                  </a:lnTo>
                  <a:lnTo>
                    <a:pt x="2555266" y="381000"/>
                  </a:lnTo>
                  <a:lnTo>
                    <a:pt x="2578126" y="358140"/>
                  </a:lnTo>
                  <a:lnTo>
                    <a:pt x="2623846" y="396240"/>
                  </a:lnTo>
                  <a:lnTo>
                    <a:pt x="2654326" y="609600"/>
                  </a:lnTo>
                  <a:lnTo>
                    <a:pt x="2631466" y="624840"/>
                  </a:lnTo>
                  <a:lnTo>
                    <a:pt x="2661946" y="754380"/>
                  </a:lnTo>
                  <a:lnTo>
                    <a:pt x="2646706" y="784860"/>
                  </a:lnTo>
                  <a:lnTo>
                    <a:pt x="2661946" y="883920"/>
                  </a:lnTo>
                  <a:lnTo>
                    <a:pt x="2761006" y="990600"/>
                  </a:lnTo>
                  <a:lnTo>
                    <a:pt x="2722906" y="1043940"/>
                  </a:lnTo>
                  <a:lnTo>
                    <a:pt x="2776246" y="1143000"/>
                  </a:lnTo>
                  <a:lnTo>
                    <a:pt x="2867686" y="1158240"/>
                  </a:lnTo>
                  <a:lnTo>
                    <a:pt x="2966746" y="1310640"/>
                  </a:lnTo>
                  <a:lnTo>
                    <a:pt x="2928646" y="1524000"/>
                  </a:lnTo>
                  <a:lnTo>
                    <a:pt x="2981986" y="1584960"/>
                  </a:lnTo>
                  <a:lnTo>
                    <a:pt x="2997226" y="1676400"/>
                  </a:lnTo>
                  <a:lnTo>
                    <a:pt x="2867686" y="1706880"/>
                  </a:lnTo>
                  <a:lnTo>
                    <a:pt x="2844826" y="1661160"/>
                  </a:lnTo>
                  <a:lnTo>
                    <a:pt x="2768626" y="1661160"/>
                  </a:lnTo>
                  <a:lnTo>
                    <a:pt x="2768626" y="1706880"/>
                  </a:lnTo>
                  <a:lnTo>
                    <a:pt x="2829586" y="1783080"/>
                  </a:lnTo>
                  <a:lnTo>
                    <a:pt x="2814346" y="1912620"/>
                  </a:lnTo>
                  <a:lnTo>
                    <a:pt x="2661946" y="2011680"/>
                  </a:lnTo>
                  <a:lnTo>
                    <a:pt x="2608606" y="1973580"/>
                  </a:lnTo>
                  <a:lnTo>
                    <a:pt x="2517166" y="2133600"/>
                  </a:lnTo>
                  <a:lnTo>
                    <a:pt x="2639086" y="2545080"/>
                  </a:lnTo>
                  <a:lnTo>
                    <a:pt x="2608606" y="2865120"/>
                  </a:lnTo>
                  <a:lnTo>
                    <a:pt x="2639086" y="2956560"/>
                  </a:lnTo>
                  <a:lnTo>
                    <a:pt x="2600986" y="3009900"/>
                  </a:lnTo>
                  <a:lnTo>
                    <a:pt x="2646706" y="3139440"/>
                  </a:lnTo>
                  <a:lnTo>
                    <a:pt x="2600986" y="3208020"/>
                  </a:lnTo>
                  <a:lnTo>
                    <a:pt x="2372386" y="3177540"/>
                  </a:lnTo>
                  <a:lnTo>
                    <a:pt x="2280946" y="3276600"/>
                  </a:lnTo>
                  <a:lnTo>
                    <a:pt x="2251997" y="3327919"/>
                  </a:lnTo>
                  <a:lnTo>
                    <a:pt x="2191575" y="3327919"/>
                  </a:lnTo>
                  <a:lnTo>
                    <a:pt x="2087643" y="3431851"/>
                  </a:lnTo>
                  <a:lnTo>
                    <a:pt x="2087643" y="3431456"/>
                  </a:lnTo>
                  <a:lnTo>
                    <a:pt x="2025029" y="3431456"/>
                  </a:lnTo>
                  <a:lnTo>
                    <a:pt x="2033485" y="3406855"/>
                  </a:lnTo>
                  <a:lnTo>
                    <a:pt x="1492268" y="3159779"/>
                  </a:lnTo>
                  <a:lnTo>
                    <a:pt x="1386376" y="3218605"/>
                  </a:lnTo>
                  <a:lnTo>
                    <a:pt x="1174596" y="3042122"/>
                  </a:lnTo>
                  <a:lnTo>
                    <a:pt x="1104002" y="2947998"/>
                  </a:lnTo>
                  <a:lnTo>
                    <a:pt x="880455" y="3053887"/>
                  </a:lnTo>
                  <a:cubicBezTo>
                    <a:pt x="954971" y="3081341"/>
                    <a:pt x="935361" y="3155855"/>
                    <a:pt x="1092238" y="3183310"/>
                  </a:cubicBezTo>
                  <a:lnTo>
                    <a:pt x="1092238" y="3195074"/>
                  </a:lnTo>
                  <a:lnTo>
                    <a:pt x="962815" y="3289199"/>
                  </a:lnTo>
                  <a:lnTo>
                    <a:pt x="715739" y="3183310"/>
                  </a:lnTo>
                  <a:lnTo>
                    <a:pt x="527489" y="3324497"/>
                  </a:lnTo>
                  <a:lnTo>
                    <a:pt x="327473" y="3265668"/>
                  </a:lnTo>
                  <a:lnTo>
                    <a:pt x="245115" y="3312730"/>
                  </a:lnTo>
                  <a:lnTo>
                    <a:pt x="127459" y="3265668"/>
                  </a:lnTo>
                  <a:lnTo>
                    <a:pt x="88502" y="3249076"/>
                  </a:lnTo>
                  <a:lnTo>
                    <a:pt x="0" y="3072069"/>
                  </a:lnTo>
                  <a:lnTo>
                    <a:pt x="136909" y="2729798"/>
                  </a:lnTo>
                  <a:lnTo>
                    <a:pt x="68454" y="2501616"/>
                  </a:lnTo>
                  <a:lnTo>
                    <a:pt x="296634" y="1931163"/>
                  </a:lnTo>
                  <a:lnTo>
                    <a:pt x="205363" y="1817071"/>
                  </a:lnTo>
                  <a:lnTo>
                    <a:pt x="678654" y="1298704"/>
                  </a:lnTo>
                  <a:lnTo>
                    <a:pt x="684556" y="1301434"/>
                  </a:lnTo>
                  <a:lnTo>
                    <a:pt x="836956" y="1068071"/>
                  </a:lnTo>
                  <a:lnTo>
                    <a:pt x="925856" y="877571"/>
                  </a:lnTo>
                  <a:lnTo>
                    <a:pt x="887756" y="858521"/>
                  </a:lnTo>
                  <a:lnTo>
                    <a:pt x="995706" y="750571"/>
                  </a:lnTo>
                  <a:lnTo>
                    <a:pt x="951256" y="680721"/>
                  </a:lnTo>
                  <a:lnTo>
                    <a:pt x="1008406" y="528321"/>
                  </a:lnTo>
                  <a:lnTo>
                    <a:pt x="951256" y="502921"/>
                  </a:lnTo>
                  <a:lnTo>
                    <a:pt x="944906" y="344171"/>
                  </a:lnTo>
                  <a:lnTo>
                    <a:pt x="969782" y="329770"/>
                  </a:lnTo>
                  <a:lnTo>
                    <a:pt x="938556" y="312422"/>
                  </a:lnTo>
                  <a:lnTo>
                    <a:pt x="938556" y="312420"/>
                  </a:lnTo>
                  <a:lnTo>
                    <a:pt x="1052856" y="375920"/>
                  </a:lnTo>
                  <a:lnTo>
                    <a:pt x="1116356" y="356870"/>
                  </a:lnTo>
                  <a:lnTo>
                    <a:pt x="1110006" y="248920"/>
                  </a:lnTo>
                  <a:lnTo>
                    <a:pt x="1205256" y="236220"/>
                  </a:lnTo>
                  <a:lnTo>
                    <a:pt x="1211606" y="375920"/>
                  </a:lnTo>
                  <a:lnTo>
                    <a:pt x="1287806" y="363220"/>
                  </a:lnTo>
                  <a:lnTo>
                    <a:pt x="1344956" y="401320"/>
                  </a:lnTo>
                  <a:lnTo>
                    <a:pt x="1306856" y="534670"/>
                  </a:lnTo>
                  <a:lnTo>
                    <a:pt x="1433856" y="471170"/>
                  </a:lnTo>
                  <a:lnTo>
                    <a:pt x="1452906" y="401320"/>
                  </a:lnTo>
                  <a:lnTo>
                    <a:pt x="1598956" y="382270"/>
                  </a:lnTo>
                  <a:lnTo>
                    <a:pt x="1548156" y="299720"/>
                  </a:lnTo>
                  <a:lnTo>
                    <a:pt x="1548156" y="271611"/>
                  </a:lnTo>
                  <a:lnTo>
                    <a:pt x="1610386" y="304800"/>
                  </a:lnTo>
                  <a:lnTo>
                    <a:pt x="1838986" y="289560"/>
                  </a:lnTo>
                  <a:lnTo>
                    <a:pt x="1869466" y="190500"/>
                  </a:lnTo>
                  <a:lnTo>
                    <a:pt x="1953286" y="190500"/>
                  </a:lnTo>
                  <a:lnTo>
                    <a:pt x="1945666" y="114300"/>
                  </a:lnTo>
                  <a:lnTo>
                    <a:pt x="1831366" y="53340"/>
                  </a:lnTo>
                  <a:lnTo>
                    <a:pt x="1976146" y="0"/>
                  </a:lnTo>
                  <a:close/>
                </a:path>
              </a:pathLst>
            </a:custGeom>
            <a:solidFill>
              <a:schemeClr val="accent2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2" name="_Map_Bayern">
              <a:extLst>
                <a:ext uri="{FF2B5EF4-FFF2-40B4-BE49-F238E27FC236}">
                  <a16:creationId xmlns:a16="http://schemas.microsoft.com/office/drawing/2014/main" id="{088F03C8-F629-4A92-AB4F-7889388F6368}"/>
                </a:ext>
              </a:extLst>
            </p:cNvPr>
            <p:cNvSpPr/>
            <p:nvPr>
              <p:custDataLst>
                <p:tags r:id="rId20"/>
              </p:custDataLst>
            </p:nvPr>
          </p:nvSpPr>
          <p:spPr bwMode="gray">
            <a:xfrm>
              <a:off x="6803990" y="4284174"/>
              <a:ext cx="1851953" cy="1953149"/>
            </a:xfrm>
            <a:custGeom>
              <a:avLst/>
              <a:gdLst>
                <a:gd name="connsiteX0" fmla="*/ 555179 w 4570627"/>
                <a:gd name="connsiteY0" fmla="*/ 4755497 h 5084434"/>
                <a:gd name="connsiteX1" fmla="*/ 555179 w 4570627"/>
                <a:gd name="connsiteY1" fmla="*/ 4755497 h 5084434"/>
                <a:gd name="connsiteX2" fmla="*/ 546724 w 4570627"/>
                <a:gd name="connsiteY2" fmla="*/ 4780097 h 5084434"/>
                <a:gd name="connsiteX3" fmla="*/ 546723 w 4570627"/>
                <a:gd name="connsiteY3" fmla="*/ 4780097 h 5084434"/>
                <a:gd name="connsiteX4" fmla="*/ 2749550 w 4570627"/>
                <a:gd name="connsiteY4" fmla="*/ 283114 h 5084434"/>
                <a:gd name="connsiteX5" fmla="*/ 2749551 w 4570627"/>
                <a:gd name="connsiteY5" fmla="*/ 283114 h 5084434"/>
                <a:gd name="connsiteX6" fmla="*/ 2787650 w 4570627"/>
                <a:gd name="connsiteY6" fmla="*/ 327563 h 5084434"/>
                <a:gd name="connsiteX7" fmla="*/ 2844800 w 4570627"/>
                <a:gd name="connsiteY7" fmla="*/ 365663 h 5084434"/>
                <a:gd name="connsiteX8" fmla="*/ 2844800 w 4570627"/>
                <a:gd name="connsiteY8" fmla="*/ 365664 h 5084434"/>
                <a:gd name="connsiteX9" fmla="*/ 2787650 w 4570627"/>
                <a:gd name="connsiteY9" fmla="*/ 327564 h 5084434"/>
                <a:gd name="connsiteX10" fmla="*/ 1060450 w 4570627"/>
                <a:gd name="connsiteY10" fmla="*/ 264062 h 5084434"/>
                <a:gd name="connsiteX11" fmla="*/ 1149350 w 4570627"/>
                <a:gd name="connsiteY11" fmla="*/ 302162 h 5084434"/>
                <a:gd name="connsiteX12" fmla="*/ 1263650 w 4570627"/>
                <a:gd name="connsiteY12" fmla="*/ 378362 h 5084434"/>
                <a:gd name="connsiteX13" fmla="*/ 1320800 w 4570627"/>
                <a:gd name="connsiteY13" fmla="*/ 499012 h 5084434"/>
                <a:gd name="connsiteX14" fmla="*/ 1371600 w 4570627"/>
                <a:gd name="connsiteY14" fmla="*/ 479962 h 5084434"/>
                <a:gd name="connsiteX15" fmla="*/ 1479550 w 4570627"/>
                <a:gd name="connsiteY15" fmla="*/ 587912 h 5084434"/>
                <a:gd name="connsiteX16" fmla="*/ 1530350 w 4570627"/>
                <a:gd name="connsiteY16" fmla="*/ 753012 h 5084434"/>
                <a:gd name="connsiteX17" fmla="*/ 1612900 w 4570627"/>
                <a:gd name="connsiteY17" fmla="*/ 797462 h 5084434"/>
                <a:gd name="connsiteX18" fmla="*/ 1638300 w 4570627"/>
                <a:gd name="connsiteY18" fmla="*/ 727612 h 5084434"/>
                <a:gd name="connsiteX19" fmla="*/ 1739900 w 4570627"/>
                <a:gd name="connsiteY19" fmla="*/ 733962 h 5084434"/>
                <a:gd name="connsiteX20" fmla="*/ 1746250 w 4570627"/>
                <a:gd name="connsiteY20" fmla="*/ 683162 h 5084434"/>
                <a:gd name="connsiteX21" fmla="*/ 1689100 w 4570627"/>
                <a:gd name="connsiteY21" fmla="*/ 651412 h 5084434"/>
                <a:gd name="connsiteX22" fmla="*/ 1638300 w 4570627"/>
                <a:gd name="connsiteY22" fmla="*/ 606962 h 5084434"/>
                <a:gd name="connsiteX23" fmla="*/ 1625600 w 4570627"/>
                <a:gd name="connsiteY23" fmla="*/ 556162 h 5084434"/>
                <a:gd name="connsiteX24" fmla="*/ 1778000 w 4570627"/>
                <a:gd name="connsiteY24" fmla="*/ 499012 h 5084434"/>
                <a:gd name="connsiteX25" fmla="*/ 1879600 w 4570627"/>
                <a:gd name="connsiteY25" fmla="*/ 511712 h 5084434"/>
                <a:gd name="connsiteX26" fmla="*/ 1873250 w 4570627"/>
                <a:gd name="connsiteY26" fmla="*/ 575212 h 5084434"/>
                <a:gd name="connsiteX27" fmla="*/ 1981200 w 4570627"/>
                <a:gd name="connsiteY27" fmla="*/ 568862 h 5084434"/>
                <a:gd name="connsiteX28" fmla="*/ 2006600 w 4570627"/>
                <a:gd name="connsiteY28" fmla="*/ 568862 h 5084434"/>
                <a:gd name="connsiteX29" fmla="*/ 2032000 w 4570627"/>
                <a:gd name="connsiteY29" fmla="*/ 670462 h 5084434"/>
                <a:gd name="connsiteX30" fmla="*/ 2133600 w 4570627"/>
                <a:gd name="connsiteY30" fmla="*/ 683162 h 5084434"/>
                <a:gd name="connsiteX31" fmla="*/ 2171700 w 4570627"/>
                <a:gd name="connsiteY31" fmla="*/ 549812 h 5084434"/>
                <a:gd name="connsiteX32" fmla="*/ 2146300 w 4570627"/>
                <a:gd name="connsiteY32" fmla="*/ 410112 h 5084434"/>
                <a:gd name="connsiteX33" fmla="*/ 2216150 w 4570627"/>
                <a:gd name="connsiteY33" fmla="*/ 327562 h 5084434"/>
                <a:gd name="connsiteX34" fmla="*/ 2279650 w 4570627"/>
                <a:gd name="connsiteY34" fmla="*/ 321212 h 5084434"/>
                <a:gd name="connsiteX35" fmla="*/ 2305050 w 4570627"/>
                <a:gd name="connsiteY35" fmla="*/ 416462 h 5084434"/>
                <a:gd name="connsiteX36" fmla="*/ 2374900 w 4570627"/>
                <a:gd name="connsiteY36" fmla="*/ 479962 h 5084434"/>
                <a:gd name="connsiteX37" fmla="*/ 2381250 w 4570627"/>
                <a:gd name="connsiteY37" fmla="*/ 543462 h 5084434"/>
                <a:gd name="connsiteX38" fmla="*/ 2514600 w 4570627"/>
                <a:gd name="connsiteY38" fmla="*/ 492662 h 5084434"/>
                <a:gd name="connsiteX39" fmla="*/ 2641600 w 4570627"/>
                <a:gd name="connsiteY39" fmla="*/ 467262 h 5084434"/>
                <a:gd name="connsiteX40" fmla="*/ 2686050 w 4570627"/>
                <a:gd name="connsiteY40" fmla="*/ 505362 h 5084434"/>
                <a:gd name="connsiteX41" fmla="*/ 2774950 w 4570627"/>
                <a:gd name="connsiteY41" fmla="*/ 454562 h 5084434"/>
                <a:gd name="connsiteX42" fmla="*/ 2796953 w 4570627"/>
                <a:gd name="connsiteY42" fmla="*/ 456658 h 5084434"/>
                <a:gd name="connsiteX43" fmla="*/ 2787650 w 4570627"/>
                <a:gd name="connsiteY43" fmla="*/ 435514 h 5084434"/>
                <a:gd name="connsiteX44" fmla="*/ 2857500 w 4570627"/>
                <a:gd name="connsiteY44" fmla="*/ 594263 h 5084434"/>
                <a:gd name="connsiteX45" fmla="*/ 2971800 w 4570627"/>
                <a:gd name="connsiteY45" fmla="*/ 619663 h 5084434"/>
                <a:gd name="connsiteX46" fmla="*/ 3054350 w 4570627"/>
                <a:gd name="connsiteY46" fmla="*/ 638713 h 5084434"/>
                <a:gd name="connsiteX47" fmla="*/ 3093057 w 4570627"/>
                <a:gd name="connsiteY47" fmla="*/ 793543 h 5084434"/>
                <a:gd name="connsiteX48" fmla="*/ 3011086 w 4570627"/>
                <a:gd name="connsiteY48" fmla="*/ 674685 h 5084434"/>
                <a:gd name="connsiteX49" fmla="*/ 2924805 w 4570627"/>
                <a:gd name="connsiteY49" fmla="*/ 760966 h 5084434"/>
                <a:gd name="connsiteX50" fmla="*/ 3026774 w 4570627"/>
                <a:gd name="connsiteY50" fmla="*/ 870778 h 5084434"/>
                <a:gd name="connsiteX51" fmla="*/ 3050305 w 4570627"/>
                <a:gd name="connsiteY51" fmla="*/ 1043340 h 5084434"/>
                <a:gd name="connsiteX52" fmla="*/ 3348367 w 4570627"/>
                <a:gd name="connsiteY52" fmla="*/ 1215903 h 5084434"/>
                <a:gd name="connsiteX53" fmla="*/ 3411117 w 4570627"/>
                <a:gd name="connsiteY53" fmla="*/ 1325715 h 5084434"/>
                <a:gd name="connsiteX54" fmla="*/ 3262086 w 4570627"/>
                <a:gd name="connsiteY54" fmla="*/ 1506121 h 5084434"/>
                <a:gd name="connsiteX55" fmla="*/ 3395429 w 4570627"/>
                <a:gd name="connsiteY55" fmla="*/ 1749277 h 5084434"/>
                <a:gd name="connsiteX56" fmla="*/ 3489554 w 4570627"/>
                <a:gd name="connsiteY56" fmla="*/ 2031651 h 5084434"/>
                <a:gd name="connsiteX57" fmla="*/ 3638585 w 4570627"/>
                <a:gd name="connsiteY57" fmla="*/ 2196370 h 5084434"/>
                <a:gd name="connsiteX58" fmla="*/ 3756241 w 4570627"/>
                <a:gd name="connsiteY58" fmla="*/ 2102245 h 5084434"/>
                <a:gd name="connsiteX59" fmla="*/ 3905271 w 4570627"/>
                <a:gd name="connsiteY59" fmla="*/ 2345401 h 5084434"/>
                <a:gd name="connsiteX60" fmla="*/ 4007240 w 4570627"/>
                <a:gd name="connsiteY60" fmla="*/ 2463057 h 5084434"/>
                <a:gd name="connsiteX61" fmla="*/ 4124896 w 4570627"/>
                <a:gd name="connsiteY61" fmla="*/ 2463057 h 5084434"/>
                <a:gd name="connsiteX62" fmla="*/ 4328833 w 4570627"/>
                <a:gd name="connsiteY62" fmla="*/ 2745431 h 5084434"/>
                <a:gd name="connsiteX63" fmla="*/ 4446489 w 4570627"/>
                <a:gd name="connsiteY63" fmla="*/ 2729744 h 5084434"/>
                <a:gd name="connsiteX64" fmla="*/ 4564145 w 4570627"/>
                <a:gd name="connsiteY64" fmla="*/ 2855244 h 5084434"/>
                <a:gd name="connsiteX65" fmla="*/ 4570627 w 4570627"/>
                <a:gd name="connsiteY65" fmla="*/ 2865244 h 5084434"/>
                <a:gd name="connsiteX66" fmla="*/ 4493946 w 4570627"/>
                <a:gd name="connsiteY66" fmla="*/ 3233312 h 5084434"/>
                <a:gd name="connsiteX67" fmla="*/ 4274322 w 4570627"/>
                <a:gd name="connsiteY67" fmla="*/ 3248999 h 5084434"/>
                <a:gd name="connsiteX68" fmla="*/ 4180197 w 4570627"/>
                <a:gd name="connsiteY68" fmla="*/ 3578436 h 5084434"/>
                <a:gd name="connsiteX69" fmla="*/ 3819386 w 4570627"/>
                <a:gd name="connsiteY69" fmla="*/ 3703936 h 5084434"/>
                <a:gd name="connsiteX70" fmla="*/ 3552699 w 4570627"/>
                <a:gd name="connsiteY70" fmla="*/ 3860811 h 5084434"/>
                <a:gd name="connsiteX71" fmla="*/ 3552699 w 4570627"/>
                <a:gd name="connsiteY71" fmla="*/ 3970623 h 5084434"/>
                <a:gd name="connsiteX72" fmla="*/ 3788011 w 4570627"/>
                <a:gd name="connsiteY72" fmla="*/ 4174560 h 5084434"/>
                <a:gd name="connsiteX73" fmla="*/ 3772323 w 4570627"/>
                <a:gd name="connsiteY73" fmla="*/ 4394185 h 5084434"/>
                <a:gd name="connsiteX74" fmla="*/ 3866448 w 4570627"/>
                <a:gd name="connsiteY74" fmla="*/ 4503997 h 5084434"/>
                <a:gd name="connsiteX75" fmla="*/ 3897823 w 4570627"/>
                <a:gd name="connsiteY75" fmla="*/ 4739310 h 5084434"/>
                <a:gd name="connsiteX76" fmla="*/ 3819386 w 4570627"/>
                <a:gd name="connsiteY76" fmla="*/ 4849122 h 5084434"/>
                <a:gd name="connsiteX77" fmla="*/ 3662511 w 4570627"/>
                <a:gd name="connsiteY77" fmla="*/ 4770684 h 5084434"/>
                <a:gd name="connsiteX78" fmla="*/ 3615449 w 4570627"/>
                <a:gd name="connsiteY78" fmla="*/ 4692247 h 5084434"/>
                <a:gd name="connsiteX79" fmla="*/ 3615449 w 4570627"/>
                <a:gd name="connsiteY79" fmla="*/ 4551060 h 5084434"/>
                <a:gd name="connsiteX80" fmla="*/ 3458574 w 4570627"/>
                <a:gd name="connsiteY80" fmla="*/ 4488310 h 5084434"/>
                <a:gd name="connsiteX81" fmla="*/ 3395824 w 4570627"/>
                <a:gd name="connsiteY81" fmla="*/ 4613810 h 5084434"/>
                <a:gd name="connsiteX82" fmla="*/ 3160513 w 4570627"/>
                <a:gd name="connsiteY82" fmla="*/ 4535372 h 5084434"/>
                <a:gd name="connsiteX83" fmla="*/ 3144825 w 4570627"/>
                <a:gd name="connsiteY83" fmla="*/ 4472622 h 5084434"/>
                <a:gd name="connsiteX84" fmla="*/ 2940888 w 4570627"/>
                <a:gd name="connsiteY84" fmla="*/ 4551060 h 5084434"/>
                <a:gd name="connsiteX85" fmla="*/ 2831076 w 4570627"/>
                <a:gd name="connsiteY85" fmla="*/ 4660872 h 5084434"/>
                <a:gd name="connsiteX86" fmla="*/ 2564389 w 4570627"/>
                <a:gd name="connsiteY86" fmla="*/ 4692247 h 5084434"/>
                <a:gd name="connsiteX87" fmla="*/ 2329077 w 4570627"/>
                <a:gd name="connsiteY87" fmla="*/ 4707935 h 5084434"/>
                <a:gd name="connsiteX88" fmla="*/ 2125140 w 4570627"/>
                <a:gd name="connsiteY88" fmla="*/ 4896184 h 5084434"/>
                <a:gd name="connsiteX89" fmla="*/ 1936891 w 4570627"/>
                <a:gd name="connsiteY89" fmla="*/ 4943247 h 5084434"/>
                <a:gd name="connsiteX90" fmla="*/ 1717266 w 4570627"/>
                <a:gd name="connsiteY90" fmla="*/ 4833434 h 5084434"/>
                <a:gd name="connsiteX91" fmla="*/ 1701579 w 4570627"/>
                <a:gd name="connsiteY91" fmla="*/ 4707935 h 5084434"/>
                <a:gd name="connsiteX92" fmla="*/ 1576079 w 4570627"/>
                <a:gd name="connsiteY92" fmla="*/ 4660872 h 5084434"/>
                <a:gd name="connsiteX93" fmla="*/ 1419205 w 4570627"/>
                <a:gd name="connsiteY93" fmla="*/ 4660872 h 5084434"/>
                <a:gd name="connsiteX94" fmla="*/ 1340768 w 4570627"/>
                <a:gd name="connsiteY94" fmla="*/ 4754997 h 5084434"/>
                <a:gd name="connsiteX95" fmla="*/ 1309393 w 4570627"/>
                <a:gd name="connsiteY95" fmla="*/ 4911872 h 5084434"/>
                <a:gd name="connsiteX96" fmla="*/ 1246643 w 4570627"/>
                <a:gd name="connsiteY96" fmla="*/ 5005997 h 5084434"/>
                <a:gd name="connsiteX97" fmla="*/ 1152518 w 4570627"/>
                <a:gd name="connsiteY97" fmla="*/ 5084434 h 5084434"/>
                <a:gd name="connsiteX98" fmla="*/ 964268 w 4570627"/>
                <a:gd name="connsiteY98" fmla="*/ 5037372 h 5084434"/>
                <a:gd name="connsiteX99" fmla="*/ 948581 w 4570627"/>
                <a:gd name="connsiteY99" fmla="*/ 4770684 h 5084434"/>
                <a:gd name="connsiteX100" fmla="*/ 807394 w 4570627"/>
                <a:gd name="connsiteY100" fmla="*/ 4676560 h 5084434"/>
                <a:gd name="connsiteX101" fmla="*/ 773692 w 4570627"/>
                <a:gd name="connsiteY101" fmla="*/ 4676560 h 5084434"/>
                <a:gd name="connsiteX102" fmla="*/ 802640 w 4570627"/>
                <a:gd name="connsiteY102" fmla="*/ 4625242 h 5084434"/>
                <a:gd name="connsiteX103" fmla="*/ 894080 w 4570627"/>
                <a:gd name="connsiteY103" fmla="*/ 4526182 h 5084434"/>
                <a:gd name="connsiteX104" fmla="*/ 1122680 w 4570627"/>
                <a:gd name="connsiteY104" fmla="*/ 4556662 h 5084434"/>
                <a:gd name="connsiteX105" fmla="*/ 1168400 w 4570627"/>
                <a:gd name="connsiteY105" fmla="*/ 4488082 h 5084434"/>
                <a:gd name="connsiteX106" fmla="*/ 1122680 w 4570627"/>
                <a:gd name="connsiteY106" fmla="*/ 4358542 h 5084434"/>
                <a:gd name="connsiteX107" fmla="*/ 1160780 w 4570627"/>
                <a:gd name="connsiteY107" fmla="*/ 4305202 h 5084434"/>
                <a:gd name="connsiteX108" fmla="*/ 1130300 w 4570627"/>
                <a:gd name="connsiteY108" fmla="*/ 4213762 h 5084434"/>
                <a:gd name="connsiteX109" fmla="*/ 1160780 w 4570627"/>
                <a:gd name="connsiteY109" fmla="*/ 3893722 h 5084434"/>
                <a:gd name="connsiteX110" fmla="*/ 1038860 w 4570627"/>
                <a:gd name="connsiteY110" fmla="*/ 3482242 h 5084434"/>
                <a:gd name="connsiteX111" fmla="*/ 1130300 w 4570627"/>
                <a:gd name="connsiteY111" fmla="*/ 3322222 h 5084434"/>
                <a:gd name="connsiteX112" fmla="*/ 1183640 w 4570627"/>
                <a:gd name="connsiteY112" fmla="*/ 3360322 h 5084434"/>
                <a:gd name="connsiteX113" fmla="*/ 1336040 w 4570627"/>
                <a:gd name="connsiteY113" fmla="*/ 3261262 h 5084434"/>
                <a:gd name="connsiteX114" fmla="*/ 1351280 w 4570627"/>
                <a:gd name="connsiteY114" fmla="*/ 3131722 h 5084434"/>
                <a:gd name="connsiteX115" fmla="*/ 1290320 w 4570627"/>
                <a:gd name="connsiteY115" fmla="*/ 3055522 h 5084434"/>
                <a:gd name="connsiteX116" fmla="*/ 1290320 w 4570627"/>
                <a:gd name="connsiteY116" fmla="*/ 3009802 h 5084434"/>
                <a:gd name="connsiteX117" fmla="*/ 1366520 w 4570627"/>
                <a:gd name="connsiteY117" fmla="*/ 3009802 h 5084434"/>
                <a:gd name="connsiteX118" fmla="*/ 1389380 w 4570627"/>
                <a:gd name="connsiteY118" fmla="*/ 3055522 h 5084434"/>
                <a:gd name="connsiteX119" fmla="*/ 1518920 w 4570627"/>
                <a:gd name="connsiteY119" fmla="*/ 3025042 h 5084434"/>
                <a:gd name="connsiteX120" fmla="*/ 1503680 w 4570627"/>
                <a:gd name="connsiteY120" fmla="*/ 2933602 h 5084434"/>
                <a:gd name="connsiteX121" fmla="*/ 1450340 w 4570627"/>
                <a:gd name="connsiteY121" fmla="*/ 2872642 h 5084434"/>
                <a:gd name="connsiteX122" fmla="*/ 1488440 w 4570627"/>
                <a:gd name="connsiteY122" fmla="*/ 2659282 h 5084434"/>
                <a:gd name="connsiteX123" fmla="*/ 1389380 w 4570627"/>
                <a:gd name="connsiteY123" fmla="*/ 2506882 h 5084434"/>
                <a:gd name="connsiteX124" fmla="*/ 1297940 w 4570627"/>
                <a:gd name="connsiteY124" fmla="*/ 2491642 h 5084434"/>
                <a:gd name="connsiteX125" fmla="*/ 1244600 w 4570627"/>
                <a:gd name="connsiteY125" fmla="*/ 2392582 h 5084434"/>
                <a:gd name="connsiteX126" fmla="*/ 1282700 w 4570627"/>
                <a:gd name="connsiteY126" fmla="*/ 2339242 h 5084434"/>
                <a:gd name="connsiteX127" fmla="*/ 1183640 w 4570627"/>
                <a:gd name="connsiteY127" fmla="*/ 2232562 h 5084434"/>
                <a:gd name="connsiteX128" fmla="*/ 1168400 w 4570627"/>
                <a:gd name="connsiteY128" fmla="*/ 2133502 h 5084434"/>
                <a:gd name="connsiteX129" fmla="*/ 1183640 w 4570627"/>
                <a:gd name="connsiteY129" fmla="*/ 2103022 h 5084434"/>
                <a:gd name="connsiteX130" fmla="*/ 1153160 w 4570627"/>
                <a:gd name="connsiteY130" fmla="*/ 1973482 h 5084434"/>
                <a:gd name="connsiteX131" fmla="*/ 1176020 w 4570627"/>
                <a:gd name="connsiteY131" fmla="*/ 1958242 h 5084434"/>
                <a:gd name="connsiteX132" fmla="*/ 1145540 w 4570627"/>
                <a:gd name="connsiteY132" fmla="*/ 1744882 h 5084434"/>
                <a:gd name="connsiteX133" fmla="*/ 1099820 w 4570627"/>
                <a:gd name="connsiteY133" fmla="*/ 1706782 h 5084434"/>
                <a:gd name="connsiteX134" fmla="*/ 1076960 w 4570627"/>
                <a:gd name="connsiteY134" fmla="*/ 1729642 h 5084434"/>
                <a:gd name="connsiteX135" fmla="*/ 1069340 w 4570627"/>
                <a:gd name="connsiteY135" fmla="*/ 1798222 h 5084434"/>
                <a:gd name="connsiteX136" fmla="*/ 970280 w 4570627"/>
                <a:gd name="connsiteY136" fmla="*/ 1805842 h 5084434"/>
                <a:gd name="connsiteX137" fmla="*/ 932180 w 4570627"/>
                <a:gd name="connsiteY137" fmla="*/ 1661062 h 5084434"/>
                <a:gd name="connsiteX138" fmla="*/ 871220 w 4570627"/>
                <a:gd name="connsiteY138" fmla="*/ 1706782 h 5084434"/>
                <a:gd name="connsiteX139" fmla="*/ 855980 w 4570627"/>
                <a:gd name="connsiteY139" fmla="*/ 1661062 h 5084434"/>
                <a:gd name="connsiteX140" fmla="*/ 924560 w 4570627"/>
                <a:gd name="connsiteY140" fmla="*/ 1600102 h 5084434"/>
                <a:gd name="connsiteX141" fmla="*/ 855980 w 4570627"/>
                <a:gd name="connsiteY141" fmla="*/ 1470562 h 5084434"/>
                <a:gd name="connsiteX142" fmla="*/ 825500 w 4570627"/>
                <a:gd name="connsiteY142" fmla="*/ 1417222 h 5084434"/>
                <a:gd name="connsiteX143" fmla="*/ 787400 w 4570627"/>
                <a:gd name="connsiteY143" fmla="*/ 1516282 h 5084434"/>
                <a:gd name="connsiteX144" fmla="*/ 772160 w 4570627"/>
                <a:gd name="connsiteY144" fmla="*/ 1455322 h 5084434"/>
                <a:gd name="connsiteX145" fmla="*/ 688340 w 4570627"/>
                <a:gd name="connsiteY145" fmla="*/ 1508662 h 5084434"/>
                <a:gd name="connsiteX146" fmla="*/ 695960 w 4570627"/>
                <a:gd name="connsiteY146" fmla="*/ 1363882 h 5084434"/>
                <a:gd name="connsiteX147" fmla="*/ 497840 w 4570627"/>
                <a:gd name="connsiteY147" fmla="*/ 1348642 h 5084434"/>
                <a:gd name="connsiteX148" fmla="*/ 353060 w 4570627"/>
                <a:gd name="connsiteY148" fmla="*/ 1401982 h 5084434"/>
                <a:gd name="connsiteX149" fmla="*/ 467360 w 4570627"/>
                <a:gd name="connsiteY149" fmla="*/ 1462942 h 5084434"/>
                <a:gd name="connsiteX150" fmla="*/ 474980 w 4570627"/>
                <a:gd name="connsiteY150" fmla="*/ 1539142 h 5084434"/>
                <a:gd name="connsiteX151" fmla="*/ 391160 w 4570627"/>
                <a:gd name="connsiteY151" fmla="*/ 1539142 h 5084434"/>
                <a:gd name="connsiteX152" fmla="*/ 360680 w 4570627"/>
                <a:gd name="connsiteY152" fmla="*/ 1638202 h 5084434"/>
                <a:gd name="connsiteX153" fmla="*/ 132080 w 4570627"/>
                <a:gd name="connsiteY153" fmla="*/ 1653442 h 5084434"/>
                <a:gd name="connsiteX154" fmla="*/ 69850 w 4570627"/>
                <a:gd name="connsiteY154" fmla="*/ 1620253 h 5084434"/>
                <a:gd name="connsiteX155" fmla="*/ 69850 w 4570627"/>
                <a:gd name="connsiteY155" fmla="*/ 1521362 h 5084434"/>
                <a:gd name="connsiteX156" fmla="*/ 146050 w 4570627"/>
                <a:gd name="connsiteY156" fmla="*/ 1381662 h 5084434"/>
                <a:gd name="connsiteX157" fmla="*/ 82550 w 4570627"/>
                <a:gd name="connsiteY157" fmla="*/ 1280062 h 5084434"/>
                <a:gd name="connsiteX158" fmla="*/ 25400 w 4570627"/>
                <a:gd name="connsiteY158" fmla="*/ 1254662 h 5084434"/>
                <a:gd name="connsiteX159" fmla="*/ 31750 w 4570627"/>
                <a:gd name="connsiteY159" fmla="*/ 1038762 h 5084434"/>
                <a:gd name="connsiteX160" fmla="*/ 0 w 4570627"/>
                <a:gd name="connsiteY160" fmla="*/ 962562 h 5084434"/>
                <a:gd name="connsiteX161" fmla="*/ 0 w 4570627"/>
                <a:gd name="connsiteY161" fmla="*/ 860962 h 5084434"/>
                <a:gd name="connsiteX162" fmla="*/ 107950 w 4570627"/>
                <a:gd name="connsiteY162" fmla="*/ 841912 h 5084434"/>
                <a:gd name="connsiteX163" fmla="*/ 127000 w 4570627"/>
                <a:gd name="connsiteY163" fmla="*/ 892712 h 5084434"/>
                <a:gd name="connsiteX164" fmla="*/ 215900 w 4570627"/>
                <a:gd name="connsiteY164" fmla="*/ 835562 h 5084434"/>
                <a:gd name="connsiteX165" fmla="*/ 368300 w 4570627"/>
                <a:gd name="connsiteY165" fmla="*/ 835562 h 5084434"/>
                <a:gd name="connsiteX166" fmla="*/ 368300 w 4570627"/>
                <a:gd name="connsiteY166" fmla="*/ 886362 h 5084434"/>
                <a:gd name="connsiteX167" fmla="*/ 495300 w 4570627"/>
                <a:gd name="connsiteY167" fmla="*/ 886362 h 5084434"/>
                <a:gd name="connsiteX168" fmla="*/ 488950 w 4570627"/>
                <a:gd name="connsiteY168" fmla="*/ 797462 h 5084434"/>
                <a:gd name="connsiteX169" fmla="*/ 488950 w 4570627"/>
                <a:gd name="connsiteY169" fmla="*/ 689512 h 5084434"/>
                <a:gd name="connsiteX170" fmla="*/ 596900 w 4570627"/>
                <a:gd name="connsiteY170" fmla="*/ 702212 h 5084434"/>
                <a:gd name="connsiteX171" fmla="*/ 679450 w 4570627"/>
                <a:gd name="connsiteY171" fmla="*/ 600612 h 5084434"/>
                <a:gd name="connsiteX172" fmla="*/ 717550 w 4570627"/>
                <a:gd name="connsiteY172" fmla="*/ 397412 h 5084434"/>
                <a:gd name="connsiteX173" fmla="*/ 812800 w 4570627"/>
                <a:gd name="connsiteY173" fmla="*/ 448212 h 5084434"/>
                <a:gd name="connsiteX174" fmla="*/ 952500 w 4570627"/>
                <a:gd name="connsiteY174" fmla="*/ 352962 h 5084434"/>
                <a:gd name="connsiteX175" fmla="*/ 979517 w 4570627"/>
                <a:gd name="connsiteY175" fmla="*/ 312439 h 5084434"/>
                <a:gd name="connsiteX176" fmla="*/ 977900 w 4570627"/>
                <a:gd name="connsiteY176" fmla="*/ 359312 h 5084434"/>
                <a:gd name="connsiteX177" fmla="*/ 812800 w 4570627"/>
                <a:gd name="connsiteY177" fmla="*/ 98963 h 5084434"/>
                <a:gd name="connsiteX178" fmla="*/ 812801 w 4570627"/>
                <a:gd name="connsiteY178" fmla="*/ 98963 h 5084434"/>
                <a:gd name="connsiteX179" fmla="*/ 869950 w 4570627"/>
                <a:gd name="connsiteY179" fmla="*/ 156112 h 5084434"/>
                <a:gd name="connsiteX180" fmla="*/ 920750 w 4570627"/>
                <a:gd name="connsiteY180" fmla="*/ 143412 h 5084434"/>
                <a:gd name="connsiteX181" fmla="*/ 920750 w 4570627"/>
                <a:gd name="connsiteY181" fmla="*/ 143413 h 5084434"/>
                <a:gd name="connsiteX182" fmla="*/ 869950 w 4570627"/>
                <a:gd name="connsiteY182" fmla="*/ 156113 h 5084434"/>
                <a:gd name="connsiteX183" fmla="*/ 984250 w 4570627"/>
                <a:gd name="connsiteY183" fmla="*/ 86262 h 5084434"/>
                <a:gd name="connsiteX184" fmla="*/ 1022350 w 4570627"/>
                <a:gd name="connsiteY184" fmla="*/ 137062 h 5084434"/>
                <a:gd name="connsiteX185" fmla="*/ 1022350 w 4570627"/>
                <a:gd name="connsiteY185" fmla="*/ 137063 h 5084434"/>
                <a:gd name="connsiteX186" fmla="*/ 984250 w 4570627"/>
                <a:gd name="connsiteY186" fmla="*/ 86263 h 5084434"/>
                <a:gd name="connsiteX187" fmla="*/ 908051 w 4570627"/>
                <a:gd name="connsiteY187" fmla="*/ 92613 h 5084434"/>
                <a:gd name="connsiteX188" fmla="*/ 908050 w 4570627"/>
                <a:gd name="connsiteY188" fmla="*/ 92612 h 5084434"/>
                <a:gd name="connsiteX189" fmla="*/ 3088137 w 4570627"/>
                <a:gd name="connsiteY189" fmla="*/ 0 h 5084434"/>
                <a:gd name="connsiteX190" fmla="*/ 3130550 w 4570627"/>
                <a:gd name="connsiteY190" fmla="*/ 98963 h 5084434"/>
                <a:gd name="connsiteX191" fmla="*/ 3130550 w 4570627"/>
                <a:gd name="connsiteY191" fmla="*/ 98964 h 5084434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2749550 w 4570627"/>
                <a:gd name="connsiteY5" fmla="*/ 196852 h 4998172"/>
                <a:gd name="connsiteX6" fmla="*/ 2749551 w 4570627"/>
                <a:gd name="connsiteY6" fmla="*/ 196852 h 4998172"/>
                <a:gd name="connsiteX7" fmla="*/ 2787650 w 4570627"/>
                <a:gd name="connsiteY7" fmla="*/ 241301 h 4998172"/>
                <a:gd name="connsiteX8" fmla="*/ 2844800 w 4570627"/>
                <a:gd name="connsiteY8" fmla="*/ 279401 h 4998172"/>
                <a:gd name="connsiteX9" fmla="*/ 2844800 w 4570627"/>
                <a:gd name="connsiteY9" fmla="*/ 279402 h 4998172"/>
                <a:gd name="connsiteX10" fmla="*/ 2787650 w 4570627"/>
                <a:gd name="connsiteY10" fmla="*/ 241302 h 4998172"/>
                <a:gd name="connsiteX11" fmla="*/ 2749550 w 4570627"/>
                <a:gd name="connsiteY11" fmla="*/ 196852 h 4998172"/>
                <a:gd name="connsiteX12" fmla="*/ 1060450 w 4570627"/>
                <a:gd name="connsiteY12" fmla="*/ 177800 h 4998172"/>
                <a:gd name="connsiteX13" fmla="*/ 1149350 w 4570627"/>
                <a:gd name="connsiteY13" fmla="*/ 215900 h 4998172"/>
                <a:gd name="connsiteX14" fmla="*/ 1263650 w 4570627"/>
                <a:gd name="connsiteY14" fmla="*/ 292100 h 4998172"/>
                <a:gd name="connsiteX15" fmla="*/ 1320800 w 4570627"/>
                <a:gd name="connsiteY15" fmla="*/ 412750 h 4998172"/>
                <a:gd name="connsiteX16" fmla="*/ 1371600 w 4570627"/>
                <a:gd name="connsiteY16" fmla="*/ 393700 h 4998172"/>
                <a:gd name="connsiteX17" fmla="*/ 1479550 w 4570627"/>
                <a:gd name="connsiteY17" fmla="*/ 501650 h 4998172"/>
                <a:gd name="connsiteX18" fmla="*/ 1530350 w 4570627"/>
                <a:gd name="connsiteY18" fmla="*/ 666750 h 4998172"/>
                <a:gd name="connsiteX19" fmla="*/ 1612900 w 4570627"/>
                <a:gd name="connsiteY19" fmla="*/ 711200 h 4998172"/>
                <a:gd name="connsiteX20" fmla="*/ 1638300 w 4570627"/>
                <a:gd name="connsiteY20" fmla="*/ 641350 h 4998172"/>
                <a:gd name="connsiteX21" fmla="*/ 1739900 w 4570627"/>
                <a:gd name="connsiteY21" fmla="*/ 647700 h 4998172"/>
                <a:gd name="connsiteX22" fmla="*/ 1746250 w 4570627"/>
                <a:gd name="connsiteY22" fmla="*/ 596900 h 4998172"/>
                <a:gd name="connsiteX23" fmla="*/ 1689100 w 4570627"/>
                <a:gd name="connsiteY23" fmla="*/ 565150 h 4998172"/>
                <a:gd name="connsiteX24" fmla="*/ 1638300 w 4570627"/>
                <a:gd name="connsiteY24" fmla="*/ 520700 h 4998172"/>
                <a:gd name="connsiteX25" fmla="*/ 1625600 w 4570627"/>
                <a:gd name="connsiteY25" fmla="*/ 469900 h 4998172"/>
                <a:gd name="connsiteX26" fmla="*/ 1778000 w 4570627"/>
                <a:gd name="connsiteY26" fmla="*/ 412750 h 4998172"/>
                <a:gd name="connsiteX27" fmla="*/ 1879600 w 4570627"/>
                <a:gd name="connsiteY27" fmla="*/ 425450 h 4998172"/>
                <a:gd name="connsiteX28" fmla="*/ 1873250 w 4570627"/>
                <a:gd name="connsiteY28" fmla="*/ 488950 h 4998172"/>
                <a:gd name="connsiteX29" fmla="*/ 1981200 w 4570627"/>
                <a:gd name="connsiteY29" fmla="*/ 482600 h 4998172"/>
                <a:gd name="connsiteX30" fmla="*/ 2006600 w 4570627"/>
                <a:gd name="connsiteY30" fmla="*/ 482600 h 4998172"/>
                <a:gd name="connsiteX31" fmla="*/ 2032000 w 4570627"/>
                <a:gd name="connsiteY31" fmla="*/ 584200 h 4998172"/>
                <a:gd name="connsiteX32" fmla="*/ 2133600 w 4570627"/>
                <a:gd name="connsiteY32" fmla="*/ 596900 h 4998172"/>
                <a:gd name="connsiteX33" fmla="*/ 2171700 w 4570627"/>
                <a:gd name="connsiteY33" fmla="*/ 463550 h 4998172"/>
                <a:gd name="connsiteX34" fmla="*/ 2146300 w 4570627"/>
                <a:gd name="connsiteY34" fmla="*/ 323850 h 4998172"/>
                <a:gd name="connsiteX35" fmla="*/ 2216150 w 4570627"/>
                <a:gd name="connsiteY35" fmla="*/ 241300 h 4998172"/>
                <a:gd name="connsiteX36" fmla="*/ 2279650 w 4570627"/>
                <a:gd name="connsiteY36" fmla="*/ 234950 h 4998172"/>
                <a:gd name="connsiteX37" fmla="*/ 2305050 w 4570627"/>
                <a:gd name="connsiteY37" fmla="*/ 330200 h 4998172"/>
                <a:gd name="connsiteX38" fmla="*/ 2374900 w 4570627"/>
                <a:gd name="connsiteY38" fmla="*/ 393700 h 4998172"/>
                <a:gd name="connsiteX39" fmla="*/ 2381250 w 4570627"/>
                <a:gd name="connsiteY39" fmla="*/ 457200 h 4998172"/>
                <a:gd name="connsiteX40" fmla="*/ 2514600 w 4570627"/>
                <a:gd name="connsiteY40" fmla="*/ 406400 h 4998172"/>
                <a:gd name="connsiteX41" fmla="*/ 2641600 w 4570627"/>
                <a:gd name="connsiteY41" fmla="*/ 381000 h 4998172"/>
                <a:gd name="connsiteX42" fmla="*/ 2686050 w 4570627"/>
                <a:gd name="connsiteY42" fmla="*/ 419100 h 4998172"/>
                <a:gd name="connsiteX43" fmla="*/ 2774950 w 4570627"/>
                <a:gd name="connsiteY43" fmla="*/ 368300 h 4998172"/>
                <a:gd name="connsiteX44" fmla="*/ 2796953 w 4570627"/>
                <a:gd name="connsiteY44" fmla="*/ 370396 h 4998172"/>
                <a:gd name="connsiteX45" fmla="*/ 2787650 w 4570627"/>
                <a:gd name="connsiteY45" fmla="*/ 349252 h 4998172"/>
                <a:gd name="connsiteX46" fmla="*/ 2857500 w 4570627"/>
                <a:gd name="connsiteY46" fmla="*/ 508001 h 4998172"/>
                <a:gd name="connsiteX47" fmla="*/ 2971800 w 4570627"/>
                <a:gd name="connsiteY47" fmla="*/ 533401 h 4998172"/>
                <a:gd name="connsiteX48" fmla="*/ 3054350 w 4570627"/>
                <a:gd name="connsiteY48" fmla="*/ 552451 h 4998172"/>
                <a:gd name="connsiteX49" fmla="*/ 3093057 w 4570627"/>
                <a:gd name="connsiteY49" fmla="*/ 707281 h 4998172"/>
                <a:gd name="connsiteX50" fmla="*/ 3011086 w 4570627"/>
                <a:gd name="connsiteY50" fmla="*/ 588423 h 4998172"/>
                <a:gd name="connsiteX51" fmla="*/ 2924805 w 4570627"/>
                <a:gd name="connsiteY51" fmla="*/ 674704 h 4998172"/>
                <a:gd name="connsiteX52" fmla="*/ 3026774 w 4570627"/>
                <a:gd name="connsiteY52" fmla="*/ 784516 h 4998172"/>
                <a:gd name="connsiteX53" fmla="*/ 3050305 w 4570627"/>
                <a:gd name="connsiteY53" fmla="*/ 957078 h 4998172"/>
                <a:gd name="connsiteX54" fmla="*/ 3348367 w 4570627"/>
                <a:gd name="connsiteY54" fmla="*/ 1129641 h 4998172"/>
                <a:gd name="connsiteX55" fmla="*/ 3411117 w 4570627"/>
                <a:gd name="connsiteY55" fmla="*/ 1239453 h 4998172"/>
                <a:gd name="connsiteX56" fmla="*/ 3262086 w 4570627"/>
                <a:gd name="connsiteY56" fmla="*/ 1419859 h 4998172"/>
                <a:gd name="connsiteX57" fmla="*/ 3395429 w 4570627"/>
                <a:gd name="connsiteY57" fmla="*/ 1663015 h 4998172"/>
                <a:gd name="connsiteX58" fmla="*/ 3489554 w 4570627"/>
                <a:gd name="connsiteY58" fmla="*/ 1945389 h 4998172"/>
                <a:gd name="connsiteX59" fmla="*/ 3638585 w 4570627"/>
                <a:gd name="connsiteY59" fmla="*/ 2110108 h 4998172"/>
                <a:gd name="connsiteX60" fmla="*/ 3756241 w 4570627"/>
                <a:gd name="connsiteY60" fmla="*/ 2015983 h 4998172"/>
                <a:gd name="connsiteX61" fmla="*/ 3905271 w 4570627"/>
                <a:gd name="connsiteY61" fmla="*/ 2259139 h 4998172"/>
                <a:gd name="connsiteX62" fmla="*/ 4007240 w 4570627"/>
                <a:gd name="connsiteY62" fmla="*/ 2376795 h 4998172"/>
                <a:gd name="connsiteX63" fmla="*/ 4124896 w 4570627"/>
                <a:gd name="connsiteY63" fmla="*/ 2376795 h 4998172"/>
                <a:gd name="connsiteX64" fmla="*/ 4328833 w 4570627"/>
                <a:gd name="connsiteY64" fmla="*/ 2659169 h 4998172"/>
                <a:gd name="connsiteX65" fmla="*/ 4446489 w 4570627"/>
                <a:gd name="connsiteY65" fmla="*/ 2643482 h 4998172"/>
                <a:gd name="connsiteX66" fmla="*/ 4564145 w 4570627"/>
                <a:gd name="connsiteY66" fmla="*/ 2768982 h 4998172"/>
                <a:gd name="connsiteX67" fmla="*/ 4570627 w 4570627"/>
                <a:gd name="connsiteY67" fmla="*/ 2778982 h 4998172"/>
                <a:gd name="connsiteX68" fmla="*/ 4493946 w 4570627"/>
                <a:gd name="connsiteY68" fmla="*/ 3147050 h 4998172"/>
                <a:gd name="connsiteX69" fmla="*/ 4274322 w 4570627"/>
                <a:gd name="connsiteY69" fmla="*/ 3162737 h 4998172"/>
                <a:gd name="connsiteX70" fmla="*/ 4180197 w 4570627"/>
                <a:gd name="connsiteY70" fmla="*/ 3492174 h 4998172"/>
                <a:gd name="connsiteX71" fmla="*/ 3819386 w 4570627"/>
                <a:gd name="connsiteY71" fmla="*/ 3617674 h 4998172"/>
                <a:gd name="connsiteX72" fmla="*/ 3552699 w 4570627"/>
                <a:gd name="connsiteY72" fmla="*/ 3774549 h 4998172"/>
                <a:gd name="connsiteX73" fmla="*/ 3552699 w 4570627"/>
                <a:gd name="connsiteY73" fmla="*/ 3884361 h 4998172"/>
                <a:gd name="connsiteX74" fmla="*/ 3788011 w 4570627"/>
                <a:gd name="connsiteY74" fmla="*/ 4088298 h 4998172"/>
                <a:gd name="connsiteX75" fmla="*/ 3772323 w 4570627"/>
                <a:gd name="connsiteY75" fmla="*/ 4307923 h 4998172"/>
                <a:gd name="connsiteX76" fmla="*/ 3866448 w 4570627"/>
                <a:gd name="connsiteY76" fmla="*/ 4417735 h 4998172"/>
                <a:gd name="connsiteX77" fmla="*/ 3897823 w 4570627"/>
                <a:gd name="connsiteY77" fmla="*/ 4653048 h 4998172"/>
                <a:gd name="connsiteX78" fmla="*/ 3819386 w 4570627"/>
                <a:gd name="connsiteY78" fmla="*/ 4762860 h 4998172"/>
                <a:gd name="connsiteX79" fmla="*/ 3662511 w 4570627"/>
                <a:gd name="connsiteY79" fmla="*/ 4684422 h 4998172"/>
                <a:gd name="connsiteX80" fmla="*/ 3615449 w 4570627"/>
                <a:gd name="connsiteY80" fmla="*/ 4605985 h 4998172"/>
                <a:gd name="connsiteX81" fmla="*/ 3615449 w 4570627"/>
                <a:gd name="connsiteY81" fmla="*/ 4464798 h 4998172"/>
                <a:gd name="connsiteX82" fmla="*/ 3458574 w 4570627"/>
                <a:gd name="connsiteY82" fmla="*/ 4402048 h 4998172"/>
                <a:gd name="connsiteX83" fmla="*/ 3395824 w 4570627"/>
                <a:gd name="connsiteY83" fmla="*/ 4527548 h 4998172"/>
                <a:gd name="connsiteX84" fmla="*/ 3160513 w 4570627"/>
                <a:gd name="connsiteY84" fmla="*/ 4449110 h 4998172"/>
                <a:gd name="connsiteX85" fmla="*/ 3144825 w 4570627"/>
                <a:gd name="connsiteY85" fmla="*/ 4386360 h 4998172"/>
                <a:gd name="connsiteX86" fmla="*/ 2940888 w 4570627"/>
                <a:gd name="connsiteY86" fmla="*/ 4464798 h 4998172"/>
                <a:gd name="connsiteX87" fmla="*/ 2831076 w 4570627"/>
                <a:gd name="connsiteY87" fmla="*/ 4574610 h 4998172"/>
                <a:gd name="connsiteX88" fmla="*/ 2564389 w 4570627"/>
                <a:gd name="connsiteY88" fmla="*/ 4605985 h 4998172"/>
                <a:gd name="connsiteX89" fmla="*/ 2329077 w 4570627"/>
                <a:gd name="connsiteY89" fmla="*/ 4621673 h 4998172"/>
                <a:gd name="connsiteX90" fmla="*/ 2125140 w 4570627"/>
                <a:gd name="connsiteY90" fmla="*/ 4809922 h 4998172"/>
                <a:gd name="connsiteX91" fmla="*/ 1936891 w 4570627"/>
                <a:gd name="connsiteY91" fmla="*/ 4856985 h 4998172"/>
                <a:gd name="connsiteX92" fmla="*/ 1717266 w 4570627"/>
                <a:gd name="connsiteY92" fmla="*/ 4747172 h 4998172"/>
                <a:gd name="connsiteX93" fmla="*/ 1701579 w 4570627"/>
                <a:gd name="connsiteY93" fmla="*/ 4621673 h 4998172"/>
                <a:gd name="connsiteX94" fmla="*/ 1576079 w 4570627"/>
                <a:gd name="connsiteY94" fmla="*/ 4574610 h 4998172"/>
                <a:gd name="connsiteX95" fmla="*/ 1419205 w 4570627"/>
                <a:gd name="connsiteY95" fmla="*/ 4574610 h 4998172"/>
                <a:gd name="connsiteX96" fmla="*/ 1340768 w 4570627"/>
                <a:gd name="connsiteY96" fmla="*/ 4668735 h 4998172"/>
                <a:gd name="connsiteX97" fmla="*/ 1309393 w 4570627"/>
                <a:gd name="connsiteY97" fmla="*/ 4825610 h 4998172"/>
                <a:gd name="connsiteX98" fmla="*/ 1246643 w 4570627"/>
                <a:gd name="connsiteY98" fmla="*/ 4919735 h 4998172"/>
                <a:gd name="connsiteX99" fmla="*/ 1152518 w 4570627"/>
                <a:gd name="connsiteY99" fmla="*/ 4998172 h 4998172"/>
                <a:gd name="connsiteX100" fmla="*/ 964268 w 4570627"/>
                <a:gd name="connsiteY100" fmla="*/ 4951110 h 4998172"/>
                <a:gd name="connsiteX101" fmla="*/ 948581 w 4570627"/>
                <a:gd name="connsiteY101" fmla="*/ 4684422 h 4998172"/>
                <a:gd name="connsiteX102" fmla="*/ 807394 w 4570627"/>
                <a:gd name="connsiteY102" fmla="*/ 4590298 h 4998172"/>
                <a:gd name="connsiteX103" fmla="*/ 773692 w 4570627"/>
                <a:gd name="connsiteY103" fmla="*/ 4590298 h 4998172"/>
                <a:gd name="connsiteX104" fmla="*/ 802640 w 4570627"/>
                <a:gd name="connsiteY104" fmla="*/ 4538980 h 4998172"/>
                <a:gd name="connsiteX105" fmla="*/ 894080 w 4570627"/>
                <a:gd name="connsiteY105" fmla="*/ 4439920 h 4998172"/>
                <a:gd name="connsiteX106" fmla="*/ 1122680 w 4570627"/>
                <a:gd name="connsiteY106" fmla="*/ 4470400 h 4998172"/>
                <a:gd name="connsiteX107" fmla="*/ 1168400 w 4570627"/>
                <a:gd name="connsiteY107" fmla="*/ 4401820 h 4998172"/>
                <a:gd name="connsiteX108" fmla="*/ 1122680 w 4570627"/>
                <a:gd name="connsiteY108" fmla="*/ 4272280 h 4998172"/>
                <a:gd name="connsiteX109" fmla="*/ 1160780 w 4570627"/>
                <a:gd name="connsiteY109" fmla="*/ 4218940 h 4998172"/>
                <a:gd name="connsiteX110" fmla="*/ 1130300 w 4570627"/>
                <a:gd name="connsiteY110" fmla="*/ 4127500 h 4998172"/>
                <a:gd name="connsiteX111" fmla="*/ 1160780 w 4570627"/>
                <a:gd name="connsiteY111" fmla="*/ 3807460 h 4998172"/>
                <a:gd name="connsiteX112" fmla="*/ 1038860 w 4570627"/>
                <a:gd name="connsiteY112" fmla="*/ 3395980 h 4998172"/>
                <a:gd name="connsiteX113" fmla="*/ 1130300 w 4570627"/>
                <a:gd name="connsiteY113" fmla="*/ 3235960 h 4998172"/>
                <a:gd name="connsiteX114" fmla="*/ 1183640 w 4570627"/>
                <a:gd name="connsiteY114" fmla="*/ 3274060 h 4998172"/>
                <a:gd name="connsiteX115" fmla="*/ 1336040 w 4570627"/>
                <a:gd name="connsiteY115" fmla="*/ 3175000 h 4998172"/>
                <a:gd name="connsiteX116" fmla="*/ 1351280 w 4570627"/>
                <a:gd name="connsiteY116" fmla="*/ 3045460 h 4998172"/>
                <a:gd name="connsiteX117" fmla="*/ 1290320 w 4570627"/>
                <a:gd name="connsiteY117" fmla="*/ 2969260 h 4998172"/>
                <a:gd name="connsiteX118" fmla="*/ 1290320 w 4570627"/>
                <a:gd name="connsiteY118" fmla="*/ 2923540 h 4998172"/>
                <a:gd name="connsiteX119" fmla="*/ 1366520 w 4570627"/>
                <a:gd name="connsiteY119" fmla="*/ 2923540 h 4998172"/>
                <a:gd name="connsiteX120" fmla="*/ 1389380 w 4570627"/>
                <a:gd name="connsiteY120" fmla="*/ 2969260 h 4998172"/>
                <a:gd name="connsiteX121" fmla="*/ 1518920 w 4570627"/>
                <a:gd name="connsiteY121" fmla="*/ 2938780 h 4998172"/>
                <a:gd name="connsiteX122" fmla="*/ 1503680 w 4570627"/>
                <a:gd name="connsiteY122" fmla="*/ 2847340 h 4998172"/>
                <a:gd name="connsiteX123" fmla="*/ 1450340 w 4570627"/>
                <a:gd name="connsiteY123" fmla="*/ 2786380 h 4998172"/>
                <a:gd name="connsiteX124" fmla="*/ 1488440 w 4570627"/>
                <a:gd name="connsiteY124" fmla="*/ 2573020 h 4998172"/>
                <a:gd name="connsiteX125" fmla="*/ 1389380 w 4570627"/>
                <a:gd name="connsiteY125" fmla="*/ 2420620 h 4998172"/>
                <a:gd name="connsiteX126" fmla="*/ 1297940 w 4570627"/>
                <a:gd name="connsiteY126" fmla="*/ 2405380 h 4998172"/>
                <a:gd name="connsiteX127" fmla="*/ 1244600 w 4570627"/>
                <a:gd name="connsiteY127" fmla="*/ 2306320 h 4998172"/>
                <a:gd name="connsiteX128" fmla="*/ 1282700 w 4570627"/>
                <a:gd name="connsiteY128" fmla="*/ 2252980 h 4998172"/>
                <a:gd name="connsiteX129" fmla="*/ 1183640 w 4570627"/>
                <a:gd name="connsiteY129" fmla="*/ 2146300 h 4998172"/>
                <a:gd name="connsiteX130" fmla="*/ 1168400 w 4570627"/>
                <a:gd name="connsiteY130" fmla="*/ 2047240 h 4998172"/>
                <a:gd name="connsiteX131" fmla="*/ 1183640 w 4570627"/>
                <a:gd name="connsiteY131" fmla="*/ 2016760 h 4998172"/>
                <a:gd name="connsiteX132" fmla="*/ 1153160 w 4570627"/>
                <a:gd name="connsiteY132" fmla="*/ 1887220 h 4998172"/>
                <a:gd name="connsiteX133" fmla="*/ 1176020 w 4570627"/>
                <a:gd name="connsiteY133" fmla="*/ 1871980 h 4998172"/>
                <a:gd name="connsiteX134" fmla="*/ 1145540 w 4570627"/>
                <a:gd name="connsiteY134" fmla="*/ 1658620 h 4998172"/>
                <a:gd name="connsiteX135" fmla="*/ 1099820 w 4570627"/>
                <a:gd name="connsiteY135" fmla="*/ 1620520 h 4998172"/>
                <a:gd name="connsiteX136" fmla="*/ 1076960 w 4570627"/>
                <a:gd name="connsiteY136" fmla="*/ 1643380 h 4998172"/>
                <a:gd name="connsiteX137" fmla="*/ 1069340 w 4570627"/>
                <a:gd name="connsiteY137" fmla="*/ 1711960 h 4998172"/>
                <a:gd name="connsiteX138" fmla="*/ 970280 w 4570627"/>
                <a:gd name="connsiteY138" fmla="*/ 1719580 h 4998172"/>
                <a:gd name="connsiteX139" fmla="*/ 932180 w 4570627"/>
                <a:gd name="connsiteY139" fmla="*/ 1574800 h 4998172"/>
                <a:gd name="connsiteX140" fmla="*/ 871220 w 4570627"/>
                <a:gd name="connsiteY140" fmla="*/ 1620520 h 4998172"/>
                <a:gd name="connsiteX141" fmla="*/ 855980 w 4570627"/>
                <a:gd name="connsiteY141" fmla="*/ 1574800 h 4998172"/>
                <a:gd name="connsiteX142" fmla="*/ 924560 w 4570627"/>
                <a:gd name="connsiteY142" fmla="*/ 1513840 h 4998172"/>
                <a:gd name="connsiteX143" fmla="*/ 855980 w 4570627"/>
                <a:gd name="connsiteY143" fmla="*/ 1384300 h 4998172"/>
                <a:gd name="connsiteX144" fmla="*/ 825500 w 4570627"/>
                <a:gd name="connsiteY144" fmla="*/ 1330960 h 4998172"/>
                <a:gd name="connsiteX145" fmla="*/ 787400 w 4570627"/>
                <a:gd name="connsiteY145" fmla="*/ 1430020 h 4998172"/>
                <a:gd name="connsiteX146" fmla="*/ 772160 w 4570627"/>
                <a:gd name="connsiteY146" fmla="*/ 1369060 h 4998172"/>
                <a:gd name="connsiteX147" fmla="*/ 688340 w 4570627"/>
                <a:gd name="connsiteY147" fmla="*/ 1422400 h 4998172"/>
                <a:gd name="connsiteX148" fmla="*/ 695960 w 4570627"/>
                <a:gd name="connsiteY148" fmla="*/ 1277620 h 4998172"/>
                <a:gd name="connsiteX149" fmla="*/ 497840 w 4570627"/>
                <a:gd name="connsiteY149" fmla="*/ 1262380 h 4998172"/>
                <a:gd name="connsiteX150" fmla="*/ 353060 w 4570627"/>
                <a:gd name="connsiteY150" fmla="*/ 1315720 h 4998172"/>
                <a:gd name="connsiteX151" fmla="*/ 467360 w 4570627"/>
                <a:gd name="connsiteY151" fmla="*/ 1376680 h 4998172"/>
                <a:gd name="connsiteX152" fmla="*/ 474980 w 4570627"/>
                <a:gd name="connsiteY152" fmla="*/ 1452880 h 4998172"/>
                <a:gd name="connsiteX153" fmla="*/ 391160 w 4570627"/>
                <a:gd name="connsiteY153" fmla="*/ 1452880 h 4998172"/>
                <a:gd name="connsiteX154" fmla="*/ 360680 w 4570627"/>
                <a:gd name="connsiteY154" fmla="*/ 1551940 h 4998172"/>
                <a:gd name="connsiteX155" fmla="*/ 132080 w 4570627"/>
                <a:gd name="connsiteY155" fmla="*/ 1567180 h 4998172"/>
                <a:gd name="connsiteX156" fmla="*/ 69850 w 4570627"/>
                <a:gd name="connsiteY156" fmla="*/ 1533991 h 4998172"/>
                <a:gd name="connsiteX157" fmla="*/ 69850 w 4570627"/>
                <a:gd name="connsiteY157" fmla="*/ 1435100 h 4998172"/>
                <a:gd name="connsiteX158" fmla="*/ 146050 w 4570627"/>
                <a:gd name="connsiteY158" fmla="*/ 1295400 h 4998172"/>
                <a:gd name="connsiteX159" fmla="*/ 82550 w 4570627"/>
                <a:gd name="connsiteY159" fmla="*/ 1193800 h 4998172"/>
                <a:gd name="connsiteX160" fmla="*/ 25400 w 4570627"/>
                <a:gd name="connsiteY160" fmla="*/ 1168400 h 4998172"/>
                <a:gd name="connsiteX161" fmla="*/ 31750 w 4570627"/>
                <a:gd name="connsiteY161" fmla="*/ 952500 h 4998172"/>
                <a:gd name="connsiteX162" fmla="*/ 0 w 4570627"/>
                <a:gd name="connsiteY162" fmla="*/ 876300 h 4998172"/>
                <a:gd name="connsiteX163" fmla="*/ 0 w 4570627"/>
                <a:gd name="connsiteY163" fmla="*/ 774700 h 4998172"/>
                <a:gd name="connsiteX164" fmla="*/ 107950 w 4570627"/>
                <a:gd name="connsiteY164" fmla="*/ 755650 h 4998172"/>
                <a:gd name="connsiteX165" fmla="*/ 127000 w 4570627"/>
                <a:gd name="connsiteY165" fmla="*/ 806450 h 4998172"/>
                <a:gd name="connsiteX166" fmla="*/ 215900 w 4570627"/>
                <a:gd name="connsiteY166" fmla="*/ 749300 h 4998172"/>
                <a:gd name="connsiteX167" fmla="*/ 368300 w 4570627"/>
                <a:gd name="connsiteY167" fmla="*/ 749300 h 4998172"/>
                <a:gd name="connsiteX168" fmla="*/ 368300 w 4570627"/>
                <a:gd name="connsiteY168" fmla="*/ 800100 h 4998172"/>
                <a:gd name="connsiteX169" fmla="*/ 495300 w 4570627"/>
                <a:gd name="connsiteY169" fmla="*/ 800100 h 4998172"/>
                <a:gd name="connsiteX170" fmla="*/ 488950 w 4570627"/>
                <a:gd name="connsiteY170" fmla="*/ 711200 h 4998172"/>
                <a:gd name="connsiteX171" fmla="*/ 488950 w 4570627"/>
                <a:gd name="connsiteY171" fmla="*/ 603250 h 4998172"/>
                <a:gd name="connsiteX172" fmla="*/ 596900 w 4570627"/>
                <a:gd name="connsiteY172" fmla="*/ 615950 h 4998172"/>
                <a:gd name="connsiteX173" fmla="*/ 679450 w 4570627"/>
                <a:gd name="connsiteY173" fmla="*/ 514350 h 4998172"/>
                <a:gd name="connsiteX174" fmla="*/ 717550 w 4570627"/>
                <a:gd name="connsiteY174" fmla="*/ 311150 h 4998172"/>
                <a:gd name="connsiteX175" fmla="*/ 812800 w 4570627"/>
                <a:gd name="connsiteY175" fmla="*/ 361950 h 4998172"/>
                <a:gd name="connsiteX176" fmla="*/ 952500 w 4570627"/>
                <a:gd name="connsiteY176" fmla="*/ 266700 h 4998172"/>
                <a:gd name="connsiteX177" fmla="*/ 979517 w 4570627"/>
                <a:gd name="connsiteY177" fmla="*/ 226177 h 4998172"/>
                <a:gd name="connsiteX178" fmla="*/ 977900 w 4570627"/>
                <a:gd name="connsiteY178" fmla="*/ 273050 h 4998172"/>
                <a:gd name="connsiteX179" fmla="*/ 1060450 w 4570627"/>
                <a:gd name="connsiteY179" fmla="*/ 177800 h 4998172"/>
                <a:gd name="connsiteX180" fmla="*/ 812800 w 4570627"/>
                <a:gd name="connsiteY180" fmla="*/ 12701 h 4998172"/>
                <a:gd name="connsiteX181" fmla="*/ 812801 w 4570627"/>
                <a:gd name="connsiteY181" fmla="*/ 12701 h 4998172"/>
                <a:gd name="connsiteX182" fmla="*/ 869950 w 4570627"/>
                <a:gd name="connsiteY182" fmla="*/ 69850 h 4998172"/>
                <a:gd name="connsiteX183" fmla="*/ 920750 w 4570627"/>
                <a:gd name="connsiteY183" fmla="*/ 57150 h 4998172"/>
                <a:gd name="connsiteX184" fmla="*/ 920750 w 4570627"/>
                <a:gd name="connsiteY184" fmla="*/ 57151 h 4998172"/>
                <a:gd name="connsiteX185" fmla="*/ 869950 w 4570627"/>
                <a:gd name="connsiteY185" fmla="*/ 69851 h 4998172"/>
                <a:gd name="connsiteX186" fmla="*/ 812800 w 4570627"/>
                <a:gd name="connsiteY186" fmla="*/ 12701 h 4998172"/>
                <a:gd name="connsiteX187" fmla="*/ 984250 w 4570627"/>
                <a:gd name="connsiteY187" fmla="*/ 0 h 4998172"/>
                <a:gd name="connsiteX188" fmla="*/ 1022350 w 4570627"/>
                <a:gd name="connsiteY188" fmla="*/ 50800 h 4998172"/>
                <a:gd name="connsiteX189" fmla="*/ 1022350 w 4570627"/>
                <a:gd name="connsiteY189" fmla="*/ 50801 h 4998172"/>
                <a:gd name="connsiteX190" fmla="*/ 984250 w 4570627"/>
                <a:gd name="connsiteY190" fmla="*/ 1 h 4998172"/>
                <a:gd name="connsiteX191" fmla="*/ 908051 w 4570627"/>
                <a:gd name="connsiteY191" fmla="*/ 6351 h 4998172"/>
                <a:gd name="connsiteX192" fmla="*/ 908050 w 4570627"/>
                <a:gd name="connsiteY192" fmla="*/ 6350 h 4998172"/>
                <a:gd name="connsiteX193" fmla="*/ 984250 w 4570627"/>
                <a:gd name="connsiteY193" fmla="*/ 0 h 4998172"/>
                <a:gd name="connsiteX194" fmla="*/ 3130550 w 4570627"/>
                <a:gd name="connsiteY194" fmla="*/ 12702 h 4998172"/>
                <a:gd name="connsiteX195" fmla="*/ 3130550 w 4570627"/>
                <a:gd name="connsiteY195" fmla="*/ 12701 h 4998172"/>
                <a:gd name="connsiteX196" fmla="*/ 3130550 w 4570627"/>
                <a:gd name="connsiteY196" fmla="*/ 12702 h 4998172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2749550 w 4570627"/>
                <a:gd name="connsiteY5" fmla="*/ 196852 h 4998172"/>
                <a:gd name="connsiteX6" fmla="*/ 2749551 w 4570627"/>
                <a:gd name="connsiteY6" fmla="*/ 196852 h 4998172"/>
                <a:gd name="connsiteX7" fmla="*/ 2787650 w 4570627"/>
                <a:gd name="connsiteY7" fmla="*/ 241301 h 4998172"/>
                <a:gd name="connsiteX8" fmla="*/ 2844800 w 4570627"/>
                <a:gd name="connsiteY8" fmla="*/ 279401 h 4998172"/>
                <a:gd name="connsiteX9" fmla="*/ 2844800 w 4570627"/>
                <a:gd name="connsiteY9" fmla="*/ 279402 h 4998172"/>
                <a:gd name="connsiteX10" fmla="*/ 2787650 w 4570627"/>
                <a:gd name="connsiteY10" fmla="*/ 241302 h 4998172"/>
                <a:gd name="connsiteX11" fmla="*/ 2749550 w 4570627"/>
                <a:gd name="connsiteY11" fmla="*/ 196852 h 4998172"/>
                <a:gd name="connsiteX12" fmla="*/ 1060450 w 4570627"/>
                <a:gd name="connsiteY12" fmla="*/ 177800 h 4998172"/>
                <a:gd name="connsiteX13" fmla="*/ 1149350 w 4570627"/>
                <a:gd name="connsiteY13" fmla="*/ 215900 h 4998172"/>
                <a:gd name="connsiteX14" fmla="*/ 1263650 w 4570627"/>
                <a:gd name="connsiteY14" fmla="*/ 292100 h 4998172"/>
                <a:gd name="connsiteX15" fmla="*/ 1320800 w 4570627"/>
                <a:gd name="connsiteY15" fmla="*/ 412750 h 4998172"/>
                <a:gd name="connsiteX16" fmla="*/ 1371600 w 4570627"/>
                <a:gd name="connsiteY16" fmla="*/ 393700 h 4998172"/>
                <a:gd name="connsiteX17" fmla="*/ 1479550 w 4570627"/>
                <a:gd name="connsiteY17" fmla="*/ 501650 h 4998172"/>
                <a:gd name="connsiteX18" fmla="*/ 1530350 w 4570627"/>
                <a:gd name="connsiteY18" fmla="*/ 666750 h 4998172"/>
                <a:gd name="connsiteX19" fmla="*/ 1612900 w 4570627"/>
                <a:gd name="connsiteY19" fmla="*/ 711200 h 4998172"/>
                <a:gd name="connsiteX20" fmla="*/ 1638300 w 4570627"/>
                <a:gd name="connsiteY20" fmla="*/ 641350 h 4998172"/>
                <a:gd name="connsiteX21" fmla="*/ 1739900 w 4570627"/>
                <a:gd name="connsiteY21" fmla="*/ 647700 h 4998172"/>
                <a:gd name="connsiteX22" fmla="*/ 1746250 w 4570627"/>
                <a:gd name="connsiteY22" fmla="*/ 596900 h 4998172"/>
                <a:gd name="connsiteX23" fmla="*/ 1689100 w 4570627"/>
                <a:gd name="connsiteY23" fmla="*/ 565150 h 4998172"/>
                <a:gd name="connsiteX24" fmla="*/ 1638300 w 4570627"/>
                <a:gd name="connsiteY24" fmla="*/ 520700 h 4998172"/>
                <a:gd name="connsiteX25" fmla="*/ 1625600 w 4570627"/>
                <a:gd name="connsiteY25" fmla="*/ 469900 h 4998172"/>
                <a:gd name="connsiteX26" fmla="*/ 1778000 w 4570627"/>
                <a:gd name="connsiteY26" fmla="*/ 412750 h 4998172"/>
                <a:gd name="connsiteX27" fmla="*/ 1879600 w 4570627"/>
                <a:gd name="connsiteY27" fmla="*/ 425450 h 4998172"/>
                <a:gd name="connsiteX28" fmla="*/ 1873250 w 4570627"/>
                <a:gd name="connsiteY28" fmla="*/ 488950 h 4998172"/>
                <a:gd name="connsiteX29" fmla="*/ 1981200 w 4570627"/>
                <a:gd name="connsiteY29" fmla="*/ 482600 h 4998172"/>
                <a:gd name="connsiteX30" fmla="*/ 2006600 w 4570627"/>
                <a:gd name="connsiteY30" fmla="*/ 482600 h 4998172"/>
                <a:gd name="connsiteX31" fmla="*/ 2032000 w 4570627"/>
                <a:gd name="connsiteY31" fmla="*/ 584200 h 4998172"/>
                <a:gd name="connsiteX32" fmla="*/ 2133600 w 4570627"/>
                <a:gd name="connsiteY32" fmla="*/ 596900 h 4998172"/>
                <a:gd name="connsiteX33" fmla="*/ 2171700 w 4570627"/>
                <a:gd name="connsiteY33" fmla="*/ 463550 h 4998172"/>
                <a:gd name="connsiteX34" fmla="*/ 2146300 w 4570627"/>
                <a:gd name="connsiteY34" fmla="*/ 323850 h 4998172"/>
                <a:gd name="connsiteX35" fmla="*/ 2216150 w 4570627"/>
                <a:gd name="connsiteY35" fmla="*/ 241300 h 4998172"/>
                <a:gd name="connsiteX36" fmla="*/ 2279650 w 4570627"/>
                <a:gd name="connsiteY36" fmla="*/ 234950 h 4998172"/>
                <a:gd name="connsiteX37" fmla="*/ 2305050 w 4570627"/>
                <a:gd name="connsiteY37" fmla="*/ 330200 h 4998172"/>
                <a:gd name="connsiteX38" fmla="*/ 2374900 w 4570627"/>
                <a:gd name="connsiteY38" fmla="*/ 393700 h 4998172"/>
                <a:gd name="connsiteX39" fmla="*/ 2381250 w 4570627"/>
                <a:gd name="connsiteY39" fmla="*/ 457200 h 4998172"/>
                <a:gd name="connsiteX40" fmla="*/ 2514600 w 4570627"/>
                <a:gd name="connsiteY40" fmla="*/ 406400 h 4998172"/>
                <a:gd name="connsiteX41" fmla="*/ 2641600 w 4570627"/>
                <a:gd name="connsiteY41" fmla="*/ 381000 h 4998172"/>
                <a:gd name="connsiteX42" fmla="*/ 2686050 w 4570627"/>
                <a:gd name="connsiteY42" fmla="*/ 419100 h 4998172"/>
                <a:gd name="connsiteX43" fmla="*/ 2774950 w 4570627"/>
                <a:gd name="connsiteY43" fmla="*/ 368300 h 4998172"/>
                <a:gd name="connsiteX44" fmla="*/ 2796953 w 4570627"/>
                <a:gd name="connsiteY44" fmla="*/ 370396 h 4998172"/>
                <a:gd name="connsiteX45" fmla="*/ 2787650 w 4570627"/>
                <a:gd name="connsiteY45" fmla="*/ 349252 h 4998172"/>
                <a:gd name="connsiteX46" fmla="*/ 2857500 w 4570627"/>
                <a:gd name="connsiteY46" fmla="*/ 508001 h 4998172"/>
                <a:gd name="connsiteX47" fmla="*/ 2971800 w 4570627"/>
                <a:gd name="connsiteY47" fmla="*/ 533401 h 4998172"/>
                <a:gd name="connsiteX48" fmla="*/ 3054350 w 4570627"/>
                <a:gd name="connsiteY48" fmla="*/ 552451 h 4998172"/>
                <a:gd name="connsiteX49" fmla="*/ 3093057 w 4570627"/>
                <a:gd name="connsiteY49" fmla="*/ 707281 h 4998172"/>
                <a:gd name="connsiteX50" fmla="*/ 3011086 w 4570627"/>
                <a:gd name="connsiteY50" fmla="*/ 588423 h 4998172"/>
                <a:gd name="connsiteX51" fmla="*/ 2924805 w 4570627"/>
                <a:gd name="connsiteY51" fmla="*/ 674704 h 4998172"/>
                <a:gd name="connsiteX52" fmla="*/ 3026774 w 4570627"/>
                <a:gd name="connsiteY52" fmla="*/ 784516 h 4998172"/>
                <a:gd name="connsiteX53" fmla="*/ 3050305 w 4570627"/>
                <a:gd name="connsiteY53" fmla="*/ 957078 h 4998172"/>
                <a:gd name="connsiteX54" fmla="*/ 3348367 w 4570627"/>
                <a:gd name="connsiteY54" fmla="*/ 1129641 h 4998172"/>
                <a:gd name="connsiteX55" fmla="*/ 3411117 w 4570627"/>
                <a:gd name="connsiteY55" fmla="*/ 1239453 h 4998172"/>
                <a:gd name="connsiteX56" fmla="*/ 3262086 w 4570627"/>
                <a:gd name="connsiteY56" fmla="*/ 1419859 h 4998172"/>
                <a:gd name="connsiteX57" fmla="*/ 3395429 w 4570627"/>
                <a:gd name="connsiteY57" fmla="*/ 1663015 h 4998172"/>
                <a:gd name="connsiteX58" fmla="*/ 3489554 w 4570627"/>
                <a:gd name="connsiteY58" fmla="*/ 1945389 h 4998172"/>
                <a:gd name="connsiteX59" fmla="*/ 3638585 w 4570627"/>
                <a:gd name="connsiteY59" fmla="*/ 2110108 h 4998172"/>
                <a:gd name="connsiteX60" fmla="*/ 3756241 w 4570627"/>
                <a:gd name="connsiteY60" fmla="*/ 2015983 h 4998172"/>
                <a:gd name="connsiteX61" fmla="*/ 3905271 w 4570627"/>
                <a:gd name="connsiteY61" fmla="*/ 2259139 h 4998172"/>
                <a:gd name="connsiteX62" fmla="*/ 4007240 w 4570627"/>
                <a:gd name="connsiteY62" fmla="*/ 2376795 h 4998172"/>
                <a:gd name="connsiteX63" fmla="*/ 4124896 w 4570627"/>
                <a:gd name="connsiteY63" fmla="*/ 2376795 h 4998172"/>
                <a:gd name="connsiteX64" fmla="*/ 4328833 w 4570627"/>
                <a:gd name="connsiteY64" fmla="*/ 2659169 h 4998172"/>
                <a:gd name="connsiteX65" fmla="*/ 4446489 w 4570627"/>
                <a:gd name="connsiteY65" fmla="*/ 2643482 h 4998172"/>
                <a:gd name="connsiteX66" fmla="*/ 4564145 w 4570627"/>
                <a:gd name="connsiteY66" fmla="*/ 2768982 h 4998172"/>
                <a:gd name="connsiteX67" fmla="*/ 4570627 w 4570627"/>
                <a:gd name="connsiteY67" fmla="*/ 2778982 h 4998172"/>
                <a:gd name="connsiteX68" fmla="*/ 4493946 w 4570627"/>
                <a:gd name="connsiteY68" fmla="*/ 3147050 h 4998172"/>
                <a:gd name="connsiteX69" fmla="*/ 4274322 w 4570627"/>
                <a:gd name="connsiteY69" fmla="*/ 3162737 h 4998172"/>
                <a:gd name="connsiteX70" fmla="*/ 4180197 w 4570627"/>
                <a:gd name="connsiteY70" fmla="*/ 3492174 h 4998172"/>
                <a:gd name="connsiteX71" fmla="*/ 3819386 w 4570627"/>
                <a:gd name="connsiteY71" fmla="*/ 3617674 h 4998172"/>
                <a:gd name="connsiteX72" fmla="*/ 3552699 w 4570627"/>
                <a:gd name="connsiteY72" fmla="*/ 3774549 h 4998172"/>
                <a:gd name="connsiteX73" fmla="*/ 3552699 w 4570627"/>
                <a:gd name="connsiteY73" fmla="*/ 3884361 h 4998172"/>
                <a:gd name="connsiteX74" fmla="*/ 3788011 w 4570627"/>
                <a:gd name="connsiteY74" fmla="*/ 4088298 h 4998172"/>
                <a:gd name="connsiteX75" fmla="*/ 3772323 w 4570627"/>
                <a:gd name="connsiteY75" fmla="*/ 4307923 h 4998172"/>
                <a:gd name="connsiteX76" fmla="*/ 3866448 w 4570627"/>
                <a:gd name="connsiteY76" fmla="*/ 4417735 h 4998172"/>
                <a:gd name="connsiteX77" fmla="*/ 3897823 w 4570627"/>
                <a:gd name="connsiteY77" fmla="*/ 4653048 h 4998172"/>
                <a:gd name="connsiteX78" fmla="*/ 3819386 w 4570627"/>
                <a:gd name="connsiteY78" fmla="*/ 4762860 h 4998172"/>
                <a:gd name="connsiteX79" fmla="*/ 3662511 w 4570627"/>
                <a:gd name="connsiteY79" fmla="*/ 4684422 h 4998172"/>
                <a:gd name="connsiteX80" fmla="*/ 3615449 w 4570627"/>
                <a:gd name="connsiteY80" fmla="*/ 4605985 h 4998172"/>
                <a:gd name="connsiteX81" fmla="*/ 3615449 w 4570627"/>
                <a:gd name="connsiteY81" fmla="*/ 4464798 h 4998172"/>
                <a:gd name="connsiteX82" fmla="*/ 3458574 w 4570627"/>
                <a:gd name="connsiteY82" fmla="*/ 4402048 h 4998172"/>
                <a:gd name="connsiteX83" fmla="*/ 3395824 w 4570627"/>
                <a:gd name="connsiteY83" fmla="*/ 4527548 h 4998172"/>
                <a:gd name="connsiteX84" fmla="*/ 3160513 w 4570627"/>
                <a:gd name="connsiteY84" fmla="*/ 4449110 h 4998172"/>
                <a:gd name="connsiteX85" fmla="*/ 3144825 w 4570627"/>
                <a:gd name="connsiteY85" fmla="*/ 4386360 h 4998172"/>
                <a:gd name="connsiteX86" fmla="*/ 2940888 w 4570627"/>
                <a:gd name="connsiteY86" fmla="*/ 4464798 h 4998172"/>
                <a:gd name="connsiteX87" fmla="*/ 2831076 w 4570627"/>
                <a:gd name="connsiteY87" fmla="*/ 4574610 h 4998172"/>
                <a:gd name="connsiteX88" fmla="*/ 2564389 w 4570627"/>
                <a:gd name="connsiteY88" fmla="*/ 4605985 h 4998172"/>
                <a:gd name="connsiteX89" fmla="*/ 2329077 w 4570627"/>
                <a:gd name="connsiteY89" fmla="*/ 4621673 h 4998172"/>
                <a:gd name="connsiteX90" fmla="*/ 2125140 w 4570627"/>
                <a:gd name="connsiteY90" fmla="*/ 4809922 h 4998172"/>
                <a:gd name="connsiteX91" fmla="*/ 1936891 w 4570627"/>
                <a:gd name="connsiteY91" fmla="*/ 4856985 h 4998172"/>
                <a:gd name="connsiteX92" fmla="*/ 1717266 w 4570627"/>
                <a:gd name="connsiteY92" fmla="*/ 4747172 h 4998172"/>
                <a:gd name="connsiteX93" fmla="*/ 1701579 w 4570627"/>
                <a:gd name="connsiteY93" fmla="*/ 4621673 h 4998172"/>
                <a:gd name="connsiteX94" fmla="*/ 1576079 w 4570627"/>
                <a:gd name="connsiteY94" fmla="*/ 4574610 h 4998172"/>
                <a:gd name="connsiteX95" fmla="*/ 1419205 w 4570627"/>
                <a:gd name="connsiteY95" fmla="*/ 4574610 h 4998172"/>
                <a:gd name="connsiteX96" fmla="*/ 1340768 w 4570627"/>
                <a:gd name="connsiteY96" fmla="*/ 4668735 h 4998172"/>
                <a:gd name="connsiteX97" fmla="*/ 1309393 w 4570627"/>
                <a:gd name="connsiteY97" fmla="*/ 4825610 h 4998172"/>
                <a:gd name="connsiteX98" fmla="*/ 1246643 w 4570627"/>
                <a:gd name="connsiteY98" fmla="*/ 4919735 h 4998172"/>
                <a:gd name="connsiteX99" fmla="*/ 1152518 w 4570627"/>
                <a:gd name="connsiteY99" fmla="*/ 4998172 h 4998172"/>
                <a:gd name="connsiteX100" fmla="*/ 964268 w 4570627"/>
                <a:gd name="connsiteY100" fmla="*/ 4951110 h 4998172"/>
                <a:gd name="connsiteX101" fmla="*/ 948581 w 4570627"/>
                <a:gd name="connsiteY101" fmla="*/ 4684422 h 4998172"/>
                <a:gd name="connsiteX102" fmla="*/ 807394 w 4570627"/>
                <a:gd name="connsiteY102" fmla="*/ 4590298 h 4998172"/>
                <a:gd name="connsiteX103" fmla="*/ 773692 w 4570627"/>
                <a:gd name="connsiteY103" fmla="*/ 4590298 h 4998172"/>
                <a:gd name="connsiteX104" fmla="*/ 802640 w 4570627"/>
                <a:gd name="connsiteY104" fmla="*/ 4538980 h 4998172"/>
                <a:gd name="connsiteX105" fmla="*/ 894080 w 4570627"/>
                <a:gd name="connsiteY105" fmla="*/ 4439920 h 4998172"/>
                <a:gd name="connsiteX106" fmla="*/ 1122680 w 4570627"/>
                <a:gd name="connsiteY106" fmla="*/ 4470400 h 4998172"/>
                <a:gd name="connsiteX107" fmla="*/ 1168400 w 4570627"/>
                <a:gd name="connsiteY107" fmla="*/ 4401820 h 4998172"/>
                <a:gd name="connsiteX108" fmla="*/ 1122680 w 4570627"/>
                <a:gd name="connsiteY108" fmla="*/ 4272280 h 4998172"/>
                <a:gd name="connsiteX109" fmla="*/ 1160780 w 4570627"/>
                <a:gd name="connsiteY109" fmla="*/ 4218940 h 4998172"/>
                <a:gd name="connsiteX110" fmla="*/ 1130300 w 4570627"/>
                <a:gd name="connsiteY110" fmla="*/ 4127500 h 4998172"/>
                <a:gd name="connsiteX111" fmla="*/ 1160780 w 4570627"/>
                <a:gd name="connsiteY111" fmla="*/ 3807460 h 4998172"/>
                <a:gd name="connsiteX112" fmla="*/ 1038860 w 4570627"/>
                <a:gd name="connsiteY112" fmla="*/ 3395980 h 4998172"/>
                <a:gd name="connsiteX113" fmla="*/ 1130300 w 4570627"/>
                <a:gd name="connsiteY113" fmla="*/ 3235960 h 4998172"/>
                <a:gd name="connsiteX114" fmla="*/ 1183640 w 4570627"/>
                <a:gd name="connsiteY114" fmla="*/ 3274060 h 4998172"/>
                <a:gd name="connsiteX115" fmla="*/ 1336040 w 4570627"/>
                <a:gd name="connsiteY115" fmla="*/ 3175000 h 4998172"/>
                <a:gd name="connsiteX116" fmla="*/ 1351280 w 4570627"/>
                <a:gd name="connsiteY116" fmla="*/ 3045460 h 4998172"/>
                <a:gd name="connsiteX117" fmla="*/ 1290320 w 4570627"/>
                <a:gd name="connsiteY117" fmla="*/ 2969260 h 4998172"/>
                <a:gd name="connsiteX118" fmla="*/ 1290320 w 4570627"/>
                <a:gd name="connsiteY118" fmla="*/ 2923540 h 4998172"/>
                <a:gd name="connsiteX119" fmla="*/ 1366520 w 4570627"/>
                <a:gd name="connsiteY119" fmla="*/ 2923540 h 4998172"/>
                <a:gd name="connsiteX120" fmla="*/ 1389380 w 4570627"/>
                <a:gd name="connsiteY120" fmla="*/ 2969260 h 4998172"/>
                <a:gd name="connsiteX121" fmla="*/ 1518920 w 4570627"/>
                <a:gd name="connsiteY121" fmla="*/ 2938780 h 4998172"/>
                <a:gd name="connsiteX122" fmla="*/ 1503680 w 4570627"/>
                <a:gd name="connsiteY122" fmla="*/ 2847340 h 4998172"/>
                <a:gd name="connsiteX123" fmla="*/ 1450340 w 4570627"/>
                <a:gd name="connsiteY123" fmla="*/ 2786380 h 4998172"/>
                <a:gd name="connsiteX124" fmla="*/ 1488440 w 4570627"/>
                <a:gd name="connsiteY124" fmla="*/ 2573020 h 4998172"/>
                <a:gd name="connsiteX125" fmla="*/ 1389380 w 4570627"/>
                <a:gd name="connsiteY125" fmla="*/ 2420620 h 4998172"/>
                <a:gd name="connsiteX126" fmla="*/ 1297940 w 4570627"/>
                <a:gd name="connsiteY126" fmla="*/ 2405380 h 4998172"/>
                <a:gd name="connsiteX127" fmla="*/ 1244600 w 4570627"/>
                <a:gd name="connsiteY127" fmla="*/ 2306320 h 4998172"/>
                <a:gd name="connsiteX128" fmla="*/ 1282700 w 4570627"/>
                <a:gd name="connsiteY128" fmla="*/ 2252980 h 4998172"/>
                <a:gd name="connsiteX129" fmla="*/ 1183640 w 4570627"/>
                <a:gd name="connsiteY129" fmla="*/ 2146300 h 4998172"/>
                <a:gd name="connsiteX130" fmla="*/ 1168400 w 4570627"/>
                <a:gd name="connsiteY130" fmla="*/ 2047240 h 4998172"/>
                <a:gd name="connsiteX131" fmla="*/ 1183640 w 4570627"/>
                <a:gd name="connsiteY131" fmla="*/ 2016760 h 4998172"/>
                <a:gd name="connsiteX132" fmla="*/ 1153160 w 4570627"/>
                <a:gd name="connsiteY132" fmla="*/ 1887220 h 4998172"/>
                <a:gd name="connsiteX133" fmla="*/ 1176020 w 4570627"/>
                <a:gd name="connsiteY133" fmla="*/ 1871980 h 4998172"/>
                <a:gd name="connsiteX134" fmla="*/ 1145540 w 4570627"/>
                <a:gd name="connsiteY134" fmla="*/ 1658620 h 4998172"/>
                <a:gd name="connsiteX135" fmla="*/ 1099820 w 4570627"/>
                <a:gd name="connsiteY135" fmla="*/ 1620520 h 4998172"/>
                <a:gd name="connsiteX136" fmla="*/ 1076960 w 4570627"/>
                <a:gd name="connsiteY136" fmla="*/ 1643380 h 4998172"/>
                <a:gd name="connsiteX137" fmla="*/ 1069340 w 4570627"/>
                <a:gd name="connsiteY137" fmla="*/ 1711960 h 4998172"/>
                <a:gd name="connsiteX138" fmla="*/ 970280 w 4570627"/>
                <a:gd name="connsiteY138" fmla="*/ 1719580 h 4998172"/>
                <a:gd name="connsiteX139" fmla="*/ 932180 w 4570627"/>
                <a:gd name="connsiteY139" fmla="*/ 1574800 h 4998172"/>
                <a:gd name="connsiteX140" fmla="*/ 871220 w 4570627"/>
                <a:gd name="connsiteY140" fmla="*/ 1620520 h 4998172"/>
                <a:gd name="connsiteX141" fmla="*/ 855980 w 4570627"/>
                <a:gd name="connsiteY141" fmla="*/ 1574800 h 4998172"/>
                <a:gd name="connsiteX142" fmla="*/ 924560 w 4570627"/>
                <a:gd name="connsiteY142" fmla="*/ 1513840 h 4998172"/>
                <a:gd name="connsiteX143" fmla="*/ 855980 w 4570627"/>
                <a:gd name="connsiteY143" fmla="*/ 1384300 h 4998172"/>
                <a:gd name="connsiteX144" fmla="*/ 825500 w 4570627"/>
                <a:gd name="connsiteY144" fmla="*/ 1330960 h 4998172"/>
                <a:gd name="connsiteX145" fmla="*/ 787400 w 4570627"/>
                <a:gd name="connsiteY145" fmla="*/ 1430020 h 4998172"/>
                <a:gd name="connsiteX146" fmla="*/ 772160 w 4570627"/>
                <a:gd name="connsiteY146" fmla="*/ 1369060 h 4998172"/>
                <a:gd name="connsiteX147" fmla="*/ 688340 w 4570627"/>
                <a:gd name="connsiteY147" fmla="*/ 1422400 h 4998172"/>
                <a:gd name="connsiteX148" fmla="*/ 695960 w 4570627"/>
                <a:gd name="connsiteY148" fmla="*/ 1277620 h 4998172"/>
                <a:gd name="connsiteX149" fmla="*/ 497840 w 4570627"/>
                <a:gd name="connsiteY149" fmla="*/ 1262380 h 4998172"/>
                <a:gd name="connsiteX150" fmla="*/ 353060 w 4570627"/>
                <a:gd name="connsiteY150" fmla="*/ 1315720 h 4998172"/>
                <a:gd name="connsiteX151" fmla="*/ 467360 w 4570627"/>
                <a:gd name="connsiteY151" fmla="*/ 1376680 h 4998172"/>
                <a:gd name="connsiteX152" fmla="*/ 474980 w 4570627"/>
                <a:gd name="connsiteY152" fmla="*/ 1452880 h 4998172"/>
                <a:gd name="connsiteX153" fmla="*/ 391160 w 4570627"/>
                <a:gd name="connsiteY153" fmla="*/ 1452880 h 4998172"/>
                <a:gd name="connsiteX154" fmla="*/ 360680 w 4570627"/>
                <a:gd name="connsiteY154" fmla="*/ 1551940 h 4998172"/>
                <a:gd name="connsiteX155" fmla="*/ 132080 w 4570627"/>
                <a:gd name="connsiteY155" fmla="*/ 1567180 h 4998172"/>
                <a:gd name="connsiteX156" fmla="*/ 69850 w 4570627"/>
                <a:gd name="connsiteY156" fmla="*/ 1533991 h 4998172"/>
                <a:gd name="connsiteX157" fmla="*/ 69850 w 4570627"/>
                <a:gd name="connsiteY157" fmla="*/ 1435100 h 4998172"/>
                <a:gd name="connsiteX158" fmla="*/ 146050 w 4570627"/>
                <a:gd name="connsiteY158" fmla="*/ 1295400 h 4998172"/>
                <a:gd name="connsiteX159" fmla="*/ 82550 w 4570627"/>
                <a:gd name="connsiteY159" fmla="*/ 1193800 h 4998172"/>
                <a:gd name="connsiteX160" fmla="*/ 25400 w 4570627"/>
                <a:gd name="connsiteY160" fmla="*/ 1168400 h 4998172"/>
                <a:gd name="connsiteX161" fmla="*/ 31750 w 4570627"/>
                <a:gd name="connsiteY161" fmla="*/ 952500 h 4998172"/>
                <a:gd name="connsiteX162" fmla="*/ 0 w 4570627"/>
                <a:gd name="connsiteY162" fmla="*/ 876300 h 4998172"/>
                <a:gd name="connsiteX163" fmla="*/ 0 w 4570627"/>
                <a:gd name="connsiteY163" fmla="*/ 774700 h 4998172"/>
                <a:gd name="connsiteX164" fmla="*/ 107950 w 4570627"/>
                <a:gd name="connsiteY164" fmla="*/ 755650 h 4998172"/>
                <a:gd name="connsiteX165" fmla="*/ 127000 w 4570627"/>
                <a:gd name="connsiteY165" fmla="*/ 806450 h 4998172"/>
                <a:gd name="connsiteX166" fmla="*/ 215900 w 4570627"/>
                <a:gd name="connsiteY166" fmla="*/ 749300 h 4998172"/>
                <a:gd name="connsiteX167" fmla="*/ 368300 w 4570627"/>
                <a:gd name="connsiteY167" fmla="*/ 749300 h 4998172"/>
                <a:gd name="connsiteX168" fmla="*/ 368300 w 4570627"/>
                <a:gd name="connsiteY168" fmla="*/ 800100 h 4998172"/>
                <a:gd name="connsiteX169" fmla="*/ 495300 w 4570627"/>
                <a:gd name="connsiteY169" fmla="*/ 800100 h 4998172"/>
                <a:gd name="connsiteX170" fmla="*/ 488950 w 4570627"/>
                <a:gd name="connsiteY170" fmla="*/ 711200 h 4998172"/>
                <a:gd name="connsiteX171" fmla="*/ 488950 w 4570627"/>
                <a:gd name="connsiteY171" fmla="*/ 603250 h 4998172"/>
                <a:gd name="connsiteX172" fmla="*/ 596900 w 4570627"/>
                <a:gd name="connsiteY172" fmla="*/ 615950 h 4998172"/>
                <a:gd name="connsiteX173" fmla="*/ 679450 w 4570627"/>
                <a:gd name="connsiteY173" fmla="*/ 514350 h 4998172"/>
                <a:gd name="connsiteX174" fmla="*/ 717550 w 4570627"/>
                <a:gd name="connsiteY174" fmla="*/ 311150 h 4998172"/>
                <a:gd name="connsiteX175" fmla="*/ 812800 w 4570627"/>
                <a:gd name="connsiteY175" fmla="*/ 361950 h 4998172"/>
                <a:gd name="connsiteX176" fmla="*/ 952500 w 4570627"/>
                <a:gd name="connsiteY176" fmla="*/ 266700 h 4998172"/>
                <a:gd name="connsiteX177" fmla="*/ 979517 w 4570627"/>
                <a:gd name="connsiteY177" fmla="*/ 226177 h 4998172"/>
                <a:gd name="connsiteX178" fmla="*/ 977900 w 4570627"/>
                <a:gd name="connsiteY178" fmla="*/ 273050 h 4998172"/>
                <a:gd name="connsiteX179" fmla="*/ 1060450 w 4570627"/>
                <a:gd name="connsiteY179" fmla="*/ 177800 h 4998172"/>
                <a:gd name="connsiteX180" fmla="*/ 812800 w 4570627"/>
                <a:gd name="connsiteY180" fmla="*/ 12701 h 4998172"/>
                <a:gd name="connsiteX181" fmla="*/ 812801 w 4570627"/>
                <a:gd name="connsiteY181" fmla="*/ 12701 h 4998172"/>
                <a:gd name="connsiteX182" fmla="*/ 869950 w 4570627"/>
                <a:gd name="connsiteY182" fmla="*/ 69850 h 4998172"/>
                <a:gd name="connsiteX183" fmla="*/ 920750 w 4570627"/>
                <a:gd name="connsiteY183" fmla="*/ 57150 h 4998172"/>
                <a:gd name="connsiteX184" fmla="*/ 920750 w 4570627"/>
                <a:gd name="connsiteY184" fmla="*/ 57151 h 4998172"/>
                <a:gd name="connsiteX185" fmla="*/ 869950 w 4570627"/>
                <a:gd name="connsiteY185" fmla="*/ 69851 h 4998172"/>
                <a:gd name="connsiteX186" fmla="*/ 812800 w 4570627"/>
                <a:gd name="connsiteY186" fmla="*/ 12701 h 4998172"/>
                <a:gd name="connsiteX187" fmla="*/ 984250 w 4570627"/>
                <a:gd name="connsiteY187" fmla="*/ 0 h 4998172"/>
                <a:gd name="connsiteX188" fmla="*/ 1022350 w 4570627"/>
                <a:gd name="connsiteY188" fmla="*/ 50800 h 4998172"/>
                <a:gd name="connsiteX189" fmla="*/ 1022350 w 4570627"/>
                <a:gd name="connsiteY189" fmla="*/ 50801 h 4998172"/>
                <a:gd name="connsiteX190" fmla="*/ 984250 w 4570627"/>
                <a:gd name="connsiteY190" fmla="*/ 1 h 4998172"/>
                <a:gd name="connsiteX191" fmla="*/ 908051 w 4570627"/>
                <a:gd name="connsiteY191" fmla="*/ 6351 h 4998172"/>
                <a:gd name="connsiteX192" fmla="*/ 908050 w 4570627"/>
                <a:gd name="connsiteY192" fmla="*/ 6350 h 4998172"/>
                <a:gd name="connsiteX193" fmla="*/ 984250 w 4570627"/>
                <a:gd name="connsiteY193" fmla="*/ 0 h 4998172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2787650 w 4570627"/>
                <a:gd name="connsiteY5" fmla="*/ 241302 h 4998172"/>
                <a:gd name="connsiteX6" fmla="*/ 2749551 w 4570627"/>
                <a:gd name="connsiteY6" fmla="*/ 196852 h 4998172"/>
                <a:gd name="connsiteX7" fmla="*/ 2787650 w 4570627"/>
                <a:gd name="connsiteY7" fmla="*/ 241301 h 4998172"/>
                <a:gd name="connsiteX8" fmla="*/ 2844800 w 4570627"/>
                <a:gd name="connsiteY8" fmla="*/ 279401 h 4998172"/>
                <a:gd name="connsiteX9" fmla="*/ 2844800 w 4570627"/>
                <a:gd name="connsiteY9" fmla="*/ 279402 h 4998172"/>
                <a:gd name="connsiteX10" fmla="*/ 2787650 w 4570627"/>
                <a:gd name="connsiteY10" fmla="*/ 241302 h 4998172"/>
                <a:gd name="connsiteX11" fmla="*/ 1060450 w 4570627"/>
                <a:gd name="connsiteY11" fmla="*/ 177800 h 4998172"/>
                <a:gd name="connsiteX12" fmla="*/ 1149350 w 4570627"/>
                <a:gd name="connsiteY12" fmla="*/ 215900 h 4998172"/>
                <a:gd name="connsiteX13" fmla="*/ 1263650 w 4570627"/>
                <a:gd name="connsiteY13" fmla="*/ 292100 h 4998172"/>
                <a:gd name="connsiteX14" fmla="*/ 1320800 w 4570627"/>
                <a:gd name="connsiteY14" fmla="*/ 412750 h 4998172"/>
                <a:gd name="connsiteX15" fmla="*/ 1371600 w 4570627"/>
                <a:gd name="connsiteY15" fmla="*/ 393700 h 4998172"/>
                <a:gd name="connsiteX16" fmla="*/ 1479550 w 4570627"/>
                <a:gd name="connsiteY16" fmla="*/ 501650 h 4998172"/>
                <a:gd name="connsiteX17" fmla="*/ 1530350 w 4570627"/>
                <a:gd name="connsiteY17" fmla="*/ 666750 h 4998172"/>
                <a:gd name="connsiteX18" fmla="*/ 1612900 w 4570627"/>
                <a:gd name="connsiteY18" fmla="*/ 711200 h 4998172"/>
                <a:gd name="connsiteX19" fmla="*/ 1638300 w 4570627"/>
                <a:gd name="connsiteY19" fmla="*/ 641350 h 4998172"/>
                <a:gd name="connsiteX20" fmla="*/ 1739900 w 4570627"/>
                <a:gd name="connsiteY20" fmla="*/ 647700 h 4998172"/>
                <a:gd name="connsiteX21" fmla="*/ 1746250 w 4570627"/>
                <a:gd name="connsiteY21" fmla="*/ 596900 h 4998172"/>
                <a:gd name="connsiteX22" fmla="*/ 1689100 w 4570627"/>
                <a:gd name="connsiteY22" fmla="*/ 565150 h 4998172"/>
                <a:gd name="connsiteX23" fmla="*/ 1638300 w 4570627"/>
                <a:gd name="connsiteY23" fmla="*/ 520700 h 4998172"/>
                <a:gd name="connsiteX24" fmla="*/ 1625600 w 4570627"/>
                <a:gd name="connsiteY24" fmla="*/ 469900 h 4998172"/>
                <a:gd name="connsiteX25" fmla="*/ 1778000 w 4570627"/>
                <a:gd name="connsiteY25" fmla="*/ 412750 h 4998172"/>
                <a:gd name="connsiteX26" fmla="*/ 1879600 w 4570627"/>
                <a:gd name="connsiteY26" fmla="*/ 425450 h 4998172"/>
                <a:gd name="connsiteX27" fmla="*/ 1873250 w 4570627"/>
                <a:gd name="connsiteY27" fmla="*/ 488950 h 4998172"/>
                <a:gd name="connsiteX28" fmla="*/ 1981200 w 4570627"/>
                <a:gd name="connsiteY28" fmla="*/ 482600 h 4998172"/>
                <a:gd name="connsiteX29" fmla="*/ 2006600 w 4570627"/>
                <a:gd name="connsiteY29" fmla="*/ 482600 h 4998172"/>
                <a:gd name="connsiteX30" fmla="*/ 2032000 w 4570627"/>
                <a:gd name="connsiteY30" fmla="*/ 584200 h 4998172"/>
                <a:gd name="connsiteX31" fmla="*/ 2133600 w 4570627"/>
                <a:gd name="connsiteY31" fmla="*/ 596900 h 4998172"/>
                <a:gd name="connsiteX32" fmla="*/ 2171700 w 4570627"/>
                <a:gd name="connsiteY32" fmla="*/ 463550 h 4998172"/>
                <a:gd name="connsiteX33" fmla="*/ 2146300 w 4570627"/>
                <a:gd name="connsiteY33" fmla="*/ 323850 h 4998172"/>
                <a:gd name="connsiteX34" fmla="*/ 2216150 w 4570627"/>
                <a:gd name="connsiteY34" fmla="*/ 241300 h 4998172"/>
                <a:gd name="connsiteX35" fmla="*/ 2279650 w 4570627"/>
                <a:gd name="connsiteY35" fmla="*/ 234950 h 4998172"/>
                <a:gd name="connsiteX36" fmla="*/ 2305050 w 4570627"/>
                <a:gd name="connsiteY36" fmla="*/ 330200 h 4998172"/>
                <a:gd name="connsiteX37" fmla="*/ 2374900 w 4570627"/>
                <a:gd name="connsiteY37" fmla="*/ 393700 h 4998172"/>
                <a:gd name="connsiteX38" fmla="*/ 2381250 w 4570627"/>
                <a:gd name="connsiteY38" fmla="*/ 457200 h 4998172"/>
                <a:gd name="connsiteX39" fmla="*/ 2514600 w 4570627"/>
                <a:gd name="connsiteY39" fmla="*/ 406400 h 4998172"/>
                <a:gd name="connsiteX40" fmla="*/ 2641600 w 4570627"/>
                <a:gd name="connsiteY40" fmla="*/ 381000 h 4998172"/>
                <a:gd name="connsiteX41" fmla="*/ 2686050 w 4570627"/>
                <a:gd name="connsiteY41" fmla="*/ 419100 h 4998172"/>
                <a:gd name="connsiteX42" fmla="*/ 2774950 w 4570627"/>
                <a:gd name="connsiteY42" fmla="*/ 368300 h 4998172"/>
                <a:gd name="connsiteX43" fmla="*/ 2796953 w 4570627"/>
                <a:gd name="connsiteY43" fmla="*/ 370396 h 4998172"/>
                <a:gd name="connsiteX44" fmla="*/ 2787650 w 4570627"/>
                <a:gd name="connsiteY44" fmla="*/ 349252 h 4998172"/>
                <a:gd name="connsiteX45" fmla="*/ 2857500 w 4570627"/>
                <a:gd name="connsiteY45" fmla="*/ 508001 h 4998172"/>
                <a:gd name="connsiteX46" fmla="*/ 2971800 w 4570627"/>
                <a:gd name="connsiteY46" fmla="*/ 533401 h 4998172"/>
                <a:gd name="connsiteX47" fmla="*/ 3054350 w 4570627"/>
                <a:gd name="connsiteY47" fmla="*/ 552451 h 4998172"/>
                <a:gd name="connsiteX48" fmla="*/ 3093057 w 4570627"/>
                <a:gd name="connsiteY48" fmla="*/ 707281 h 4998172"/>
                <a:gd name="connsiteX49" fmla="*/ 3011086 w 4570627"/>
                <a:gd name="connsiteY49" fmla="*/ 588423 h 4998172"/>
                <a:gd name="connsiteX50" fmla="*/ 2924805 w 4570627"/>
                <a:gd name="connsiteY50" fmla="*/ 674704 h 4998172"/>
                <a:gd name="connsiteX51" fmla="*/ 3026774 w 4570627"/>
                <a:gd name="connsiteY51" fmla="*/ 784516 h 4998172"/>
                <a:gd name="connsiteX52" fmla="*/ 3050305 w 4570627"/>
                <a:gd name="connsiteY52" fmla="*/ 957078 h 4998172"/>
                <a:gd name="connsiteX53" fmla="*/ 3348367 w 4570627"/>
                <a:gd name="connsiteY53" fmla="*/ 1129641 h 4998172"/>
                <a:gd name="connsiteX54" fmla="*/ 3411117 w 4570627"/>
                <a:gd name="connsiteY54" fmla="*/ 1239453 h 4998172"/>
                <a:gd name="connsiteX55" fmla="*/ 3262086 w 4570627"/>
                <a:gd name="connsiteY55" fmla="*/ 1419859 h 4998172"/>
                <a:gd name="connsiteX56" fmla="*/ 3395429 w 4570627"/>
                <a:gd name="connsiteY56" fmla="*/ 1663015 h 4998172"/>
                <a:gd name="connsiteX57" fmla="*/ 3489554 w 4570627"/>
                <a:gd name="connsiteY57" fmla="*/ 1945389 h 4998172"/>
                <a:gd name="connsiteX58" fmla="*/ 3638585 w 4570627"/>
                <a:gd name="connsiteY58" fmla="*/ 2110108 h 4998172"/>
                <a:gd name="connsiteX59" fmla="*/ 3756241 w 4570627"/>
                <a:gd name="connsiteY59" fmla="*/ 2015983 h 4998172"/>
                <a:gd name="connsiteX60" fmla="*/ 3905271 w 4570627"/>
                <a:gd name="connsiteY60" fmla="*/ 2259139 h 4998172"/>
                <a:gd name="connsiteX61" fmla="*/ 4007240 w 4570627"/>
                <a:gd name="connsiteY61" fmla="*/ 2376795 h 4998172"/>
                <a:gd name="connsiteX62" fmla="*/ 4124896 w 4570627"/>
                <a:gd name="connsiteY62" fmla="*/ 2376795 h 4998172"/>
                <a:gd name="connsiteX63" fmla="*/ 4328833 w 4570627"/>
                <a:gd name="connsiteY63" fmla="*/ 2659169 h 4998172"/>
                <a:gd name="connsiteX64" fmla="*/ 4446489 w 4570627"/>
                <a:gd name="connsiteY64" fmla="*/ 2643482 h 4998172"/>
                <a:gd name="connsiteX65" fmla="*/ 4564145 w 4570627"/>
                <a:gd name="connsiteY65" fmla="*/ 2768982 h 4998172"/>
                <a:gd name="connsiteX66" fmla="*/ 4570627 w 4570627"/>
                <a:gd name="connsiteY66" fmla="*/ 2778982 h 4998172"/>
                <a:gd name="connsiteX67" fmla="*/ 4493946 w 4570627"/>
                <a:gd name="connsiteY67" fmla="*/ 3147050 h 4998172"/>
                <a:gd name="connsiteX68" fmla="*/ 4274322 w 4570627"/>
                <a:gd name="connsiteY68" fmla="*/ 3162737 h 4998172"/>
                <a:gd name="connsiteX69" fmla="*/ 4180197 w 4570627"/>
                <a:gd name="connsiteY69" fmla="*/ 3492174 h 4998172"/>
                <a:gd name="connsiteX70" fmla="*/ 3819386 w 4570627"/>
                <a:gd name="connsiteY70" fmla="*/ 3617674 h 4998172"/>
                <a:gd name="connsiteX71" fmla="*/ 3552699 w 4570627"/>
                <a:gd name="connsiteY71" fmla="*/ 3774549 h 4998172"/>
                <a:gd name="connsiteX72" fmla="*/ 3552699 w 4570627"/>
                <a:gd name="connsiteY72" fmla="*/ 3884361 h 4998172"/>
                <a:gd name="connsiteX73" fmla="*/ 3788011 w 4570627"/>
                <a:gd name="connsiteY73" fmla="*/ 4088298 h 4998172"/>
                <a:gd name="connsiteX74" fmla="*/ 3772323 w 4570627"/>
                <a:gd name="connsiteY74" fmla="*/ 4307923 h 4998172"/>
                <a:gd name="connsiteX75" fmla="*/ 3866448 w 4570627"/>
                <a:gd name="connsiteY75" fmla="*/ 4417735 h 4998172"/>
                <a:gd name="connsiteX76" fmla="*/ 3897823 w 4570627"/>
                <a:gd name="connsiteY76" fmla="*/ 4653048 h 4998172"/>
                <a:gd name="connsiteX77" fmla="*/ 3819386 w 4570627"/>
                <a:gd name="connsiteY77" fmla="*/ 4762860 h 4998172"/>
                <a:gd name="connsiteX78" fmla="*/ 3662511 w 4570627"/>
                <a:gd name="connsiteY78" fmla="*/ 4684422 h 4998172"/>
                <a:gd name="connsiteX79" fmla="*/ 3615449 w 4570627"/>
                <a:gd name="connsiteY79" fmla="*/ 4605985 h 4998172"/>
                <a:gd name="connsiteX80" fmla="*/ 3615449 w 4570627"/>
                <a:gd name="connsiteY80" fmla="*/ 4464798 h 4998172"/>
                <a:gd name="connsiteX81" fmla="*/ 3458574 w 4570627"/>
                <a:gd name="connsiteY81" fmla="*/ 4402048 h 4998172"/>
                <a:gd name="connsiteX82" fmla="*/ 3395824 w 4570627"/>
                <a:gd name="connsiteY82" fmla="*/ 4527548 h 4998172"/>
                <a:gd name="connsiteX83" fmla="*/ 3160513 w 4570627"/>
                <a:gd name="connsiteY83" fmla="*/ 4449110 h 4998172"/>
                <a:gd name="connsiteX84" fmla="*/ 3144825 w 4570627"/>
                <a:gd name="connsiteY84" fmla="*/ 4386360 h 4998172"/>
                <a:gd name="connsiteX85" fmla="*/ 2940888 w 4570627"/>
                <a:gd name="connsiteY85" fmla="*/ 4464798 h 4998172"/>
                <a:gd name="connsiteX86" fmla="*/ 2831076 w 4570627"/>
                <a:gd name="connsiteY86" fmla="*/ 4574610 h 4998172"/>
                <a:gd name="connsiteX87" fmla="*/ 2564389 w 4570627"/>
                <a:gd name="connsiteY87" fmla="*/ 4605985 h 4998172"/>
                <a:gd name="connsiteX88" fmla="*/ 2329077 w 4570627"/>
                <a:gd name="connsiteY88" fmla="*/ 4621673 h 4998172"/>
                <a:gd name="connsiteX89" fmla="*/ 2125140 w 4570627"/>
                <a:gd name="connsiteY89" fmla="*/ 4809922 h 4998172"/>
                <a:gd name="connsiteX90" fmla="*/ 1936891 w 4570627"/>
                <a:gd name="connsiteY90" fmla="*/ 4856985 h 4998172"/>
                <a:gd name="connsiteX91" fmla="*/ 1717266 w 4570627"/>
                <a:gd name="connsiteY91" fmla="*/ 4747172 h 4998172"/>
                <a:gd name="connsiteX92" fmla="*/ 1701579 w 4570627"/>
                <a:gd name="connsiteY92" fmla="*/ 4621673 h 4998172"/>
                <a:gd name="connsiteX93" fmla="*/ 1576079 w 4570627"/>
                <a:gd name="connsiteY93" fmla="*/ 4574610 h 4998172"/>
                <a:gd name="connsiteX94" fmla="*/ 1419205 w 4570627"/>
                <a:gd name="connsiteY94" fmla="*/ 4574610 h 4998172"/>
                <a:gd name="connsiteX95" fmla="*/ 1340768 w 4570627"/>
                <a:gd name="connsiteY95" fmla="*/ 4668735 h 4998172"/>
                <a:gd name="connsiteX96" fmla="*/ 1309393 w 4570627"/>
                <a:gd name="connsiteY96" fmla="*/ 4825610 h 4998172"/>
                <a:gd name="connsiteX97" fmla="*/ 1246643 w 4570627"/>
                <a:gd name="connsiteY97" fmla="*/ 4919735 h 4998172"/>
                <a:gd name="connsiteX98" fmla="*/ 1152518 w 4570627"/>
                <a:gd name="connsiteY98" fmla="*/ 4998172 h 4998172"/>
                <a:gd name="connsiteX99" fmla="*/ 964268 w 4570627"/>
                <a:gd name="connsiteY99" fmla="*/ 4951110 h 4998172"/>
                <a:gd name="connsiteX100" fmla="*/ 948581 w 4570627"/>
                <a:gd name="connsiteY100" fmla="*/ 4684422 h 4998172"/>
                <a:gd name="connsiteX101" fmla="*/ 807394 w 4570627"/>
                <a:gd name="connsiteY101" fmla="*/ 4590298 h 4998172"/>
                <a:gd name="connsiteX102" fmla="*/ 773692 w 4570627"/>
                <a:gd name="connsiteY102" fmla="*/ 4590298 h 4998172"/>
                <a:gd name="connsiteX103" fmla="*/ 802640 w 4570627"/>
                <a:gd name="connsiteY103" fmla="*/ 4538980 h 4998172"/>
                <a:gd name="connsiteX104" fmla="*/ 894080 w 4570627"/>
                <a:gd name="connsiteY104" fmla="*/ 4439920 h 4998172"/>
                <a:gd name="connsiteX105" fmla="*/ 1122680 w 4570627"/>
                <a:gd name="connsiteY105" fmla="*/ 4470400 h 4998172"/>
                <a:gd name="connsiteX106" fmla="*/ 1168400 w 4570627"/>
                <a:gd name="connsiteY106" fmla="*/ 4401820 h 4998172"/>
                <a:gd name="connsiteX107" fmla="*/ 1122680 w 4570627"/>
                <a:gd name="connsiteY107" fmla="*/ 4272280 h 4998172"/>
                <a:gd name="connsiteX108" fmla="*/ 1160780 w 4570627"/>
                <a:gd name="connsiteY108" fmla="*/ 4218940 h 4998172"/>
                <a:gd name="connsiteX109" fmla="*/ 1130300 w 4570627"/>
                <a:gd name="connsiteY109" fmla="*/ 4127500 h 4998172"/>
                <a:gd name="connsiteX110" fmla="*/ 1160780 w 4570627"/>
                <a:gd name="connsiteY110" fmla="*/ 3807460 h 4998172"/>
                <a:gd name="connsiteX111" fmla="*/ 1038860 w 4570627"/>
                <a:gd name="connsiteY111" fmla="*/ 3395980 h 4998172"/>
                <a:gd name="connsiteX112" fmla="*/ 1130300 w 4570627"/>
                <a:gd name="connsiteY112" fmla="*/ 3235960 h 4998172"/>
                <a:gd name="connsiteX113" fmla="*/ 1183640 w 4570627"/>
                <a:gd name="connsiteY113" fmla="*/ 3274060 h 4998172"/>
                <a:gd name="connsiteX114" fmla="*/ 1336040 w 4570627"/>
                <a:gd name="connsiteY114" fmla="*/ 3175000 h 4998172"/>
                <a:gd name="connsiteX115" fmla="*/ 1351280 w 4570627"/>
                <a:gd name="connsiteY115" fmla="*/ 3045460 h 4998172"/>
                <a:gd name="connsiteX116" fmla="*/ 1290320 w 4570627"/>
                <a:gd name="connsiteY116" fmla="*/ 2969260 h 4998172"/>
                <a:gd name="connsiteX117" fmla="*/ 1290320 w 4570627"/>
                <a:gd name="connsiteY117" fmla="*/ 2923540 h 4998172"/>
                <a:gd name="connsiteX118" fmla="*/ 1366520 w 4570627"/>
                <a:gd name="connsiteY118" fmla="*/ 2923540 h 4998172"/>
                <a:gd name="connsiteX119" fmla="*/ 1389380 w 4570627"/>
                <a:gd name="connsiteY119" fmla="*/ 2969260 h 4998172"/>
                <a:gd name="connsiteX120" fmla="*/ 1518920 w 4570627"/>
                <a:gd name="connsiteY120" fmla="*/ 2938780 h 4998172"/>
                <a:gd name="connsiteX121" fmla="*/ 1503680 w 4570627"/>
                <a:gd name="connsiteY121" fmla="*/ 2847340 h 4998172"/>
                <a:gd name="connsiteX122" fmla="*/ 1450340 w 4570627"/>
                <a:gd name="connsiteY122" fmla="*/ 2786380 h 4998172"/>
                <a:gd name="connsiteX123" fmla="*/ 1488440 w 4570627"/>
                <a:gd name="connsiteY123" fmla="*/ 2573020 h 4998172"/>
                <a:gd name="connsiteX124" fmla="*/ 1389380 w 4570627"/>
                <a:gd name="connsiteY124" fmla="*/ 2420620 h 4998172"/>
                <a:gd name="connsiteX125" fmla="*/ 1297940 w 4570627"/>
                <a:gd name="connsiteY125" fmla="*/ 2405380 h 4998172"/>
                <a:gd name="connsiteX126" fmla="*/ 1244600 w 4570627"/>
                <a:gd name="connsiteY126" fmla="*/ 2306320 h 4998172"/>
                <a:gd name="connsiteX127" fmla="*/ 1282700 w 4570627"/>
                <a:gd name="connsiteY127" fmla="*/ 2252980 h 4998172"/>
                <a:gd name="connsiteX128" fmla="*/ 1183640 w 4570627"/>
                <a:gd name="connsiteY128" fmla="*/ 2146300 h 4998172"/>
                <a:gd name="connsiteX129" fmla="*/ 1168400 w 4570627"/>
                <a:gd name="connsiteY129" fmla="*/ 2047240 h 4998172"/>
                <a:gd name="connsiteX130" fmla="*/ 1183640 w 4570627"/>
                <a:gd name="connsiteY130" fmla="*/ 2016760 h 4998172"/>
                <a:gd name="connsiteX131" fmla="*/ 1153160 w 4570627"/>
                <a:gd name="connsiteY131" fmla="*/ 1887220 h 4998172"/>
                <a:gd name="connsiteX132" fmla="*/ 1176020 w 4570627"/>
                <a:gd name="connsiteY132" fmla="*/ 1871980 h 4998172"/>
                <a:gd name="connsiteX133" fmla="*/ 1145540 w 4570627"/>
                <a:gd name="connsiteY133" fmla="*/ 1658620 h 4998172"/>
                <a:gd name="connsiteX134" fmla="*/ 1099820 w 4570627"/>
                <a:gd name="connsiteY134" fmla="*/ 1620520 h 4998172"/>
                <a:gd name="connsiteX135" fmla="*/ 1076960 w 4570627"/>
                <a:gd name="connsiteY135" fmla="*/ 1643380 h 4998172"/>
                <a:gd name="connsiteX136" fmla="*/ 1069340 w 4570627"/>
                <a:gd name="connsiteY136" fmla="*/ 1711960 h 4998172"/>
                <a:gd name="connsiteX137" fmla="*/ 970280 w 4570627"/>
                <a:gd name="connsiteY137" fmla="*/ 1719580 h 4998172"/>
                <a:gd name="connsiteX138" fmla="*/ 932180 w 4570627"/>
                <a:gd name="connsiteY138" fmla="*/ 1574800 h 4998172"/>
                <a:gd name="connsiteX139" fmla="*/ 871220 w 4570627"/>
                <a:gd name="connsiteY139" fmla="*/ 1620520 h 4998172"/>
                <a:gd name="connsiteX140" fmla="*/ 855980 w 4570627"/>
                <a:gd name="connsiteY140" fmla="*/ 1574800 h 4998172"/>
                <a:gd name="connsiteX141" fmla="*/ 924560 w 4570627"/>
                <a:gd name="connsiteY141" fmla="*/ 1513840 h 4998172"/>
                <a:gd name="connsiteX142" fmla="*/ 855980 w 4570627"/>
                <a:gd name="connsiteY142" fmla="*/ 1384300 h 4998172"/>
                <a:gd name="connsiteX143" fmla="*/ 825500 w 4570627"/>
                <a:gd name="connsiteY143" fmla="*/ 1330960 h 4998172"/>
                <a:gd name="connsiteX144" fmla="*/ 787400 w 4570627"/>
                <a:gd name="connsiteY144" fmla="*/ 1430020 h 4998172"/>
                <a:gd name="connsiteX145" fmla="*/ 772160 w 4570627"/>
                <a:gd name="connsiteY145" fmla="*/ 1369060 h 4998172"/>
                <a:gd name="connsiteX146" fmla="*/ 688340 w 4570627"/>
                <a:gd name="connsiteY146" fmla="*/ 1422400 h 4998172"/>
                <a:gd name="connsiteX147" fmla="*/ 695960 w 4570627"/>
                <a:gd name="connsiteY147" fmla="*/ 1277620 h 4998172"/>
                <a:gd name="connsiteX148" fmla="*/ 497840 w 4570627"/>
                <a:gd name="connsiteY148" fmla="*/ 1262380 h 4998172"/>
                <a:gd name="connsiteX149" fmla="*/ 353060 w 4570627"/>
                <a:gd name="connsiteY149" fmla="*/ 1315720 h 4998172"/>
                <a:gd name="connsiteX150" fmla="*/ 467360 w 4570627"/>
                <a:gd name="connsiteY150" fmla="*/ 1376680 h 4998172"/>
                <a:gd name="connsiteX151" fmla="*/ 474980 w 4570627"/>
                <a:gd name="connsiteY151" fmla="*/ 1452880 h 4998172"/>
                <a:gd name="connsiteX152" fmla="*/ 391160 w 4570627"/>
                <a:gd name="connsiteY152" fmla="*/ 1452880 h 4998172"/>
                <a:gd name="connsiteX153" fmla="*/ 360680 w 4570627"/>
                <a:gd name="connsiteY153" fmla="*/ 1551940 h 4998172"/>
                <a:gd name="connsiteX154" fmla="*/ 132080 w 4570627"/>
                <a:gd name="connsiteY154" fmla="*/ 1567180 h 4998172"/>
                <a:gd name="connsiteX155" fmla="*/ 69850 w 4570627"/>
                <a:gd name="connsiteY155" fmla="*/ 1533991 h 4998172"/>
                <a:gd name="connsiteX156" fmla="*/ 69850 w 4570627"/>
                <a:gd name="connsiteY156" fmla="*/ 1435100 h 4998172"/>
                <a:gd name="connsiteX157" fmla="*/ 146050 w 4570627"/>
                <a:gd name="connsiteY157" fmla="*/ 1295400 h 4998172"/>
                <a:gd name="connsiteX158" fmla="*/ 82550 w 4570627"/>
                <a:gd name="connsiteY158" fmla="*/ 1193800 h 4998172"/>
                <a:gd name="connsiteX159" fmla="*/ 25400 w 4570627"/>
                <a:gd name="connsiteY159" fmla="*/ 1168400 h 4998172"/>
                <a:gd name="connsiteX160" fmla="*/ 31750 w 4570627"/>
                <a:gd name="connsiteY160" fmla="*/ 952500 h 4998172"/>
                <a:gd name="connsiteX161" fmla="*/ 0 w 4570627"/>
                <a:gd name="connsiteY161" fmla="*/ 876300 h 4998172"/>
                <a:gd name="connsiteX162" fmla="*/ 0 w 4570627"/>
                <a:gd name="connsiteY162" fmla="*/ 774700 h 4998172"/>
                <a:gd name="connsiteX163" fmla="*/ 107950 w 4570627"/>
                <a:gd name="connsiteY163" fmla="*/ 755650 h 4998172"/>
                <a:gd name="connsiteX164" fmla="*/ 127000 w 4570627"/>
                <a:gd name="connsiteY164" fmla="*/ 806450 h 4998172"/>
                <a:gd name="connsiteX165" fmla="*/ 215900 w 4570627"/>
                <a:gd name="connsiteY165" fmla="*/ 749300 h 4998172"/>
                <a:gd name="connsiteX166" fmla="*/ 368300 w 4570627"/>
                <a:gd name="connsiteY166" fmla="*/ 749300 h 4998172"/>
                <a:gd name="connsiteX167" fmla="*/ 368300 w 4570627"/>
                <a:gd name="connsiteY167" fmla="*/ 800100 h 4998172"/>
                <a:gd name="connsiteX168" fmla="*/ 495300 w 4570627"/>
                <a:gd name="connsiteY168" fmla="*/ 800100 h 4998172"/>
                <a:gd name="connsiteX169" fmla="*/ 488950 w 4570627"/>
                <a:gd name="connsiteY169" fmla="*/ 711200 h 4998172"/>
                <a:gd name="connsiteX170" fmla="*/ 488950 w 4570627"/>
                <a:gd name="connsiteY170" fmla="*/ 603250 h 4998172"/>
                <a:gd name="connsiteX171" fmla="*/ 596900 w 4570627"/>
                <a:gd name="connsiteY171" fmla="*/ 615950 h 4998172"/>
                <a:gd name="connsiteX172" fmla="*/ 679450 w 4570627"/>
                <a:gd name="connsiteY172" fmla="*/ 514350 h 4998172"/>
                <a:gd name="connsiteX173" fmla="*/ 717550 w 4570627"/>
                <a:gd name="connsiteY173" fmla="*/ 311150 h 4998172"/>
                <a:gd name="connsiteX174" fmla="*/ 812800 w 4570627"/>
                <a:gd name="connsiteY174" fmla="*/ 361950 h 4998172"/>
                <a:gd name="connsiteX175" fmla="*/ 952500 w 4570627"/>
                <a:gd name="connsiteY175" fmla="*/ 266700 h 4998172"/>
                <a:gd name="connsiteX176" fmla="*/ 979517 w 4570627"/>
                <a:gd name="connsiteY176" fmla="*/ 226177 h 4998172"/>
                <a:gd name="connsiteX177" fmla="*/ 977900 w 4570627"/>
                <a:gd name="connsiteY177" fmla="*/ 273050 h 4998172"/>
                <a:gd name="connsiteX178" fmla="*/ 1060450 w 4570627"/>
                <a:gd name="connsiteY178" fmla="*/ 177800 h 4998172"/>
                <a:gd name="connsiteX179" fmla="*/ 812800 w 4570627"/>
                <a:gd name="connsiteY179" fmla="*/ 12701 h 4998172"/>
                <a:gd name="connsiteX180" fmla="*/ 812801 w 4570627"/>
                <a:gd name="connsiteY180" fmla="*/ 12701 h 4998172"/>
                <a:gd name="connsiteX181" fmla="*/ 869950 w 4570627"/>
                <a:gd name="connsiteY181" fmla="*/ 69850 h 4998172"/>
                <a:gd name="connsiteX182" fmla="*/ 920750 w 4570627"/>
                <a:gd name="connsiteY182" fmla="*/ 57150 h 4998172"/>
                <a:gd name="connsiteX183" fmla="*/ 920750 w 4570627"/>
                <a:gd name="connsiteY183" fmla="*/ 57151 h 4998172"/>
                <a:gd name="connsiteX184" fmla="*/ 869950 w 4570627"/>
                <a:gd name="connsiteY184" fmla="*/ 69851 h 4998172"/>
                <a:gd name="connsiteX185" fmla="*/ 812800 w 4570627"/>
                <a:gd name="connsiteY185" fmla="*/ 12701 h 4998172"/>
                <a:gd name="connsiteX186" fmla="*/ 984250 w 4570627"/>
                <a:gd name="connsiteY186" fmla="*/ 0 h 4998172"/>
                <a:gd name="connsiteX187" fmla="*/ 1022350 w 4570627"/>
                <a:gd name="connsiteY187" fmla="*/ 50800 h 4998172"/>
                <a:gd name="connsiteX188" fmla="*/ 1022350 w 4570627"/>
                <a:gd name="connsiteY188" fmla="*/ 50801 h 4998172"/>
                <a:gd name="connsiteX189" fmla="*/ 984250 w 4570627"/>
                <a:gd name="connsiteY189" fmla="*/ 1 h 4998172"/>
                <a:gd name="connsiteX190" fmla="*/ 908051 w 4570627"/>
                <a:gd name="connsiteY190" fmla="*/ 6351 h 4998172"/>
                <a:gd name="connsiteX191" fmla="*/ 908050 w 4570627"/>
                <a:gd name="connsiteY191" fmla="*/ 6350 h 4998172"/>
                <a:gd name="connsiteX192" fmla="*/ 984250 w 4570627"/>
                <a:gd name="connsiteY192" fmla="*/ 0 h 4998172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2844800 w 4570627"/>
                <a:gd name="connsiteY5" fmla="*/ 279402 h 4998172"/>
                <a:gd name="connsiteX6" fmla="*/ 2749551 w 4570627"/>
                <a:gd name="connsiteY6" fmla="*/ 196852 h 4998172"/>
                <a:gd name="connsiteX7" fmla="*/ 2787650 w 4570627"/>
                <a:gd name="connsiteY7" fmla="*/ 241301 h 4998172"/>
                <a:gd name="connsiteX8" fmla="*/ 2844800 w 4570627"/>
                <a:gd name="connsiteY8" fmla="*/ 279401 h 4998172"/>
                <a:gd name="connsiteX9" fmla="*/ 2844800 w 4570627"/>
                <a:gd name="connsiteY9" fmla="*/ 279402 h 4998172"/>
                <a:gd name="connsiteX10" fmla="*/ 1060450 w 4570627"/>
                <a:gd name="connsiteY10" fmla="*/ 177800 h 4998172"/>
                <a:gd name="connsiteX11" fmla="*/ 1149350 w 4570627"/>
                <a:gd name="connsiteY11" fmla="*/ 215900 h 4998172"/>
                <a:gd name="connsiteX12" fmla="*/ 1263650 w 4570627"/>
                <a:gd name="connsiteY12" fmla="*/ 292100 h 4998172"/>
                <a:gd name="connsiteX13" fmla="*/ 1320800 w 4570627"/>
                <a:gd name="connsiteY13" fmla="*/ 412750 h 4998172"/>
                <a:gd name="connsiteX14" fmla="*/ 1371600 w 4570627"/>
                <a:gd name="connsiteY14" fmla="*/ 393700 h 4998172"/>
                <a:gd name="connsiteX15" fmla="*/ 1479550 w 4570627"/>
                <a:gd name="connsiteY15" fmla="*/ 501650 h 4998172"/>
                <a:gd name="connsiteX16" fmla="*/ 1530350 w 4570627"/>
                <a:gd name="connsiteY16" fmla="*/ 666750 h 4998172"/>
                <a:gd name="connsiteX17" fmla="*/ 1612900 w 4570627"/>
                <a:gd name="connsiteY17" fmla="*/ 711200 h 4998172"/>
                <a:gd name="connsiteX18" fmla="*/ 1638300 w 4570627"/>
                <a:gd name="connsiteY18" fmla="*/ 641350 h 4998172"/>
                <a:gd name="connsiteX19" fmla="*/ 1739900 w 4570627"/>
                <a:gd name="connsiteY19" fmla="*/ 647700 h 4998172"/>
                <a:gd name="connsiteX20" fmla="*/ 1746250 w 4570627"/>
                <a:gd name="connsiteY20" fmla="*/ 596900 h 4998172"/>
                <a:gd name="connsiteX21" fmla="*/ 1689100 w 4570627"/>
                <a:gd name="connsiteY21" fmla="*/ 565150 h 4998172"/>
                <a:gd name="connsiteX22" fmla="*/ 1638300 w 4570627"/>
                <a:gd name="connsiteY22" fmla="*/ 520700 h 4998172"/>
                <a:gd name="connsiteX23" fmla="*/ 1625600 w 4570627"/>
                <a:gd name="connsiteY23" fmla="*/ 469900 h 4998172"/>
                <a:gd name="connsiteX24" fmla="*/ 1778000 w 4570627"/>
                <a:gd name="connsiteY24" fmla="*/ 412750 h 4998172"/>
                <a:gd name="connsiteX25" fmla="*/ 1879600 w 4570627"/>
                <a:gd name="connsiteY25" fmla="*/ 425450 h 4998172"/>
                <a:gd name="connsiteX26" fmla="*/ 1873250 w 4570627"/>
                <a:gd name="connsiteY26" fmla="*/ 488950 h 4998172"/>
                <a:gd name="connsiteX27" fmla="*/ 1981200 w 4570627"/>
                <a:gd name="connsiteY27" fmla="*/ 482600 h 4998172"/>
                <a:gd name="connsiteX28" fmla="*/ 2006600 w 4570627"/>
                <a:gd name="connsiteY28" fmla="*/ 482600 h 4998172"/>
                <a:gd name="connsiteX29" fmla="*/ 2032000 w 4570627"/>
                <a:gd name="connsiteY29" fmla="*/ 584200 h 4998172"/>
                <a:gd name="connsiteX30" fmla="*/ 2133600 w 4570627"/>
                <a:gd name="connsiteY30" fmla="*/ 596900 h 4998172"/>
                <a:gd name="connsiteX31" fmla="*/ 2171700 w 4570627"/>
                <a:gd name="connsiteY31" fmla="*/ 463550 h 4998172"/>
                <a:gd name="connsiteX32" fmla="*/ 2146300 w 4570627"/>
                <a:gd name="connsiteY32" fmla="*/ 323850 h 4998172"/>
                <a:gd name="connsiteX33" fmla="*/ 2216150 w 4570627"/>
                <a:gd name="connsiteY33" fmla="*/ 241300 h 4998172"/>
                <a:gd name="connsiteX34" fmla="*/ 2279650 w 4570627"/>
                <a:gd name="connsiteY34" fmla="*/ 234950 h 4998172"/>
                <a:gd name="connsiteX35" fmla="*/ 2305050 w 4570627"/>
                <a:gd name="connsiteY35" fmla="*/ 330200 h 4998172"/>
                <a:gd name="connsiteX36" fmla="*/ 2374900 w 4570627"/>
                <a:gd name="connsiteY36" fmla="*/ 393700 h 4998172"/>
                <a:gd name="connsiteX37" fmla="*/ 2381250 w 4570627"/>
                <a:gd name="connsiteY37" fmla="*/ 457200 h 4998172"/>
                <a:gd name="connsiteX38" fmla="*/ 2514600 w 4570627"/>
                <a:gd name="connsiteY38" fmla="*/ 406400 h 4998172"/>
                <a:gd name="connsiteX39" fmla="*/ 2641600 w 4570627"/>
                <a:gd name="connsiteY39" fmla="*/ 381000 h 4998172"/>
                <a:gd name="connsiteX40" fmla="*/ 2686050 w 4570627"/>
                <a:gd name="connsiteY40" fmla="*/ 419100 h 4998172"/>
                <a:gd name="connsiteX41" fmla="*/ 2774950 w 4570627"/>
                <a:gd name="connsiteY41" fmla="*/ 368300 h 4998172"/>
                <a:gd name="connsiteX42" fmla="*/ 2796953 w 4570627"/>
                <a:gd name="connsiteY42" fmla="*/ 370396 h 4998172"/>
                <a:gd name="connsiteX43" fmla="*/ 2787650 w 4570627"/>
                <a:gd name="connsiteY43" fmla="*/ 349252 h 4998172"/>
                <a:gd name="connsiteX44" fmla="*/ 2857500 w 4570627"/>
                <a:gd name="connsiteY44" fmla="*/ 508001 h 4998172"/>
                <a:gd name="connsiteX45" fmla="*/ 2971800 w 4570627"/>
                <a:gd name="connsiteY45" fmla="*/ 533401 h 4998172"/>
                <a:gd name="connsiteX46" fmla="*/ 3054350 w 4570627"/>
                <a:gd name="connsiteY46" fmla="*/ 552451 h 4998172"/>
                <a:gd name="connsiteX47" fmla="*/ 3093057 w 4570627"/>
                <a:gd name="connsiteY47" fmla="*/ 707281 h 4998172"/>
                <a:gd name="connsiteX48" fmla="*/ 3011086 w 4570627"/>
                <a:gd name="connsiteY48" fmla="*/ 588423 h 4998172"/>
                <a:gd name="connsiteX49" fmla="*/ 2924805 w 4570627"/>
                <a:gd name="connsiteY49" fmla="*/ 674704 h 4998172"/>
                <a:gd name="connsiteX50" fmla="*/ 3026774 w 4570627"/>
                <a:gd name="connsiteY50" fmla="*/ 784516 h 4998172"/>
                <a:gd name="connsiteX51" fmla="*/ 3050305 w 4570627"/>
                <a:gd name="connsiteY51" fmla="*/ 957078 h 4998172"/>
                <a:gd name="connsiteX52" fmla="*/ 3348367 w 4570627"/>
                <a:gd name="connsiteY52" fmla="*/ 1129641 h 4998172"/>
                <a:gd name="connsiteX53" fmla="*/ 3411117 w 4570627"/>
                <a:gd name="connsiteY53" fmla="*/ 1239453 h 4998172"/>
                <a:gd name="connsiteX54" fmla="*/ 3262086 w 4570627"/>
                <a:gd name="connsiteY54" fmla="*/ 1419859 h 4998172"/>
                <a:gd name="connsiteX55" fmla="*/ 3395429 w 4570627"/>
                <a:gd name="connsiteY55" fmla="*/ 1663015 h 4998172"/>
                <a:gd name="connsiteX56" fmla="*/ 3489554 w 4570627"/>
                <a:gd name="connsiteY56" fmla="*/ 1945389 h 4998172"/>
                <a:gd name="connsiteX57" fmla="*/ 3638585 w 4570627"/>
                <a:gd name="connsiteY57" fmla="*/ 2110108 h 4998172"/>
                <a:gd name="connsiteX58" fmla="*/ 3756241 w 4570627"/>
                <a:gd name="connsiteY58" fmla="*/ 2015983 h 4998172"/>
                <a:gd name="connsiteX59" fmla="*/ 3905271 w 4570627"/>
                <a:gd name="connsiteY59" fmla="*/ 2259139 h 4998172"/>
                <a:gd name="connsiteX60" fmla="*/ 4007240 w 4570627"/>
                <a:gd name="connsiteY60" fmla="*/ 2376795 h 4998172"/>
                <a:gd name="connsiteX61" fmla="*/ 4124896 w 4570627"/>
                <a:gd name="connsiteY61" fmla="*/ 2376795 h 4998172"/>
                <a:gd name="connsiteX62" fmla="*/ 4328833 w 4570627"/>
                <a:gd name="connsiteY62" fmla="*/ 2659169 h 4998172"/>
                <a:gd name="connsiteX63" fmla="*/ 4446489 w 4570627"/>
                <a:gd name="connsiteY63" fmla="*/ 2643482 h 4998172"/>
                <a:gd name="connsiteX64" fmla="*/ 4564145 w 4570627"/>
                <a:gd name="connsiteY64" fmla="*/ 2768982 h 4998172"/>
                <a:gd name="connsiteX65" fmla="*/ 4570627 w 4570627"/>
                <a:gd name="connsiteY65" fmla="*/ 2778982 h 4998172"/>
                <a:gd name="connsiteX66" fmla="*/ 4493946 w 4570627"/>
                <a:gd name="connsiteY66" fmla="*/ 3147050 h 4998172"/>
                <a:gd name="connsiteX67" fmla="*/ 4274322 w 4570627"/>
                <a:gd name="connsiteY67" fmla="*/ 3162737 h 4998172"/>
                <a:gd name="connsiteX68" fmla="*/ 4180197 w 4570627"/>
                <a:gd name="connsiteY68" fmla="*/ 3492174 h 4998172"/>
                <a:gd name="connsiteX69" fmla="*/ 3819386 w 4570627"/>
                <a:gd name="connsiteY69" fmla="*/ 3617674 h 4998172"/>
                <a:gd name="connsiteX70" fmla="*/ 3552699 w 4570627"/>
                <a:gd name="connsiteY70" fmla="*/ 3774549 h 4998172"/>
                <a:gd name="connsiteX71" fmla="*/ 3552699 w 4570627"/>
                <a:gd name="connsiteY71" fmla="*/ 3884361 h 4998172"/>
                <a:gd name="connsiteX72" fmla="*/ 3788011 w 4570627"/>
                <a:gd name="connsiteY72" fmla="*/ 4088298 h 4998172"/>
                <a:gd name="connsiteX73" fmla="*/ 3772323 w 4570627"/>
                <a:gd name="connsiteY73" fmla="*/ 4307923 h 4998172"/>
                <a:gd name="connsiteX74" fmla="*/ 3866448 w 4570627"/>
                <a:gd name="connsiteY74" fmla="*/ 4417735 h 4998172"/>
                <a:gd name="connsiteX75" fmla="*/ 3897823 w 4570627"/>
                <a:gd name="connsiteY75" fmla="*/ 4653048 h 4998172"/>
                <a:gd name="connsiteX76" fmla="*/ 3819386 w 4570627"/>
                <a:gd name="connsiteY76" fmla="*/ 4762860 h 4998172"/>
                <a:gd name="connsiteX77" fmla="*/ 3662511 w 4570627"/>
                <a:gd name="connsiteY77" fmla="*/ 4684422 h 4998172"/>
                <a:gd name="connsiteX78" fmla="*/ 3615449 w 4570627"/>
                <a:gd name="connsiteY78" fmla="*/ 4605985 h 4998172"/>
                <a:gd name="connsiteX79" fmla="*/ 3615449 w 4570627"/>
                <a:gd name="connsiteY79" fmla="*/ 4464798 h 4998172"/>
                <a:gd name="connsiteX80" fmla="*/ 3458574 w 4570627"/>
                <a:gd name="connsiteY80" fmla="*/ 4402048 h 4998172"/>
                <a:gd name="connsiteX81" fmla="*/ 3395824 w 4570627"/>
                <a:gd name="connsiteY81" fmla="*/ 4527548 h 4998172"/>
                <a:gd name="connsiteX82" fmla="*/ 3160513 w 4570627"/>
                <a:gd name="connsiteY82" fmla="*/ 4449110 h 4998172"/>
                <a:gd name="connsiteX83" fmla="*/ 3144825 w 4570627"/>
                <a:gd name="connsiteY83" fmla="*/ 4386360 h 4998172"/>
                <a:gd name="connsiteX84" fmla="*/ 2940888 w 4570627"/>
                <a:gd name="connsiteY84" fmla="*/ 4464798 h 4998172"/>
                <a:gd name="connsiteX85" fmla="*/ 2831076 w 4570627"/>
                <a:gd name="connsiteY85" fmla="*/ 4574610 h 4998172"/>
                <a:gd name="connsiteX86" fmla="*/ 2564389 w 4570627"/>
                <a:gd name="connsiteY86" fmla="*/ 4605985 h 4998172"/>
                <a:gd name="connsiteX87" fmla="*/ 2329077 w 4570627"/>
                <a:gd name="connsiteY87" fmla="*/ 4621673 h 4998172"/>
                <a:gd name="connsiteX88" fmla="*/ 2125140 w 4570627"/>
                <a:gd name="connsiteY88" fmla="*/ 4809922 h 4998172"/>
                <a:gd name="connsiteX89" fmla="*/ 1936891 w 4570627"/>
                <a:gd name="connsiteY89" fmla="*/ 4856985 h 4998172"/>
                <a:gd name="connsiteX90" fmla="*/ 1717266 w 4570627"/>
                <a:gd name="connsiteY90" fmla="*/ 4747172 h 4998172"/>
                <a:gd name="connsiteX91" fmla="*/ 1701579 w 4570627"/>
                <a:gd name="connsiteY91" fmla="*/ 4621673 h 4998172"/>
                <a:gd name="connsiteX92" fmla="*/ 1576079 w 4570627"/>
                <a:gd name="connsiteY92" fmla="*/ 4574610 h 4998172"/>
                <a:gd name="connsiteX93" fmla="*/ 1419205 w 4570627"/>
                <a:gd name="connsiteY93" fmla="*/ 4574610 h 4998172"/>
                <a:gd name="connsiteX94" fmla="*/ 1340768 w 4570627"/>
                <a:gd name="connsiteY94" fmla="*/ 4668735 h 4998172"/>
                <a:gd name="connsiteX95" fmla="*/ 1309393 w 4570627"/>
                <a:gd name="connsiteY95" fmla="*/ 4825610 h 4998172"/>
                <a:gd name="connsiteX96" fmla="*/ 1246643 w 4570627"/>
                <a:gd name="connsiteY96" fmla="*/ 4919735 h 4998172"/>
                <a:gd name="connsiteX97" fmla="*/ 1152518 w 4570627"/>
                <a:gd name="connsiteY97" fmla="*/ 4998172 h 4998172"/>
                <a:gd name="connsiteX98" fmla="*/ 964268 w 4570627"/>
                <a:gd name="connsiteY98" fmla="*/ 4951110 h 4998172"/>
                <a:gd name="connsiteX99" fmla="*/ 948581 w 4570627"/>
                <a:gd name="connsiteY99" fmla="*/ 4684422 h 4998172"/>
                <a:gd name="connsiteX100" fmla="*/ 807394 w 4570627"/>
                <a:gd name="connsiteY100" fmla="*/ 4590298 h 4998172"/>
                <a:gd name="connsiteX101" fmla="*/ 773692 w 4570627"/>
                <a:gd name="connsiteY101" fmla="*/ 4590298 h 4998172"/>
                <a:gd name="connsiteX102" fmla="*/ 802640 w 4570627"/>
                <a:gd name="connsiteY102" fmla="*/ 4538980 h 4998172"/>
                <a:gd name="connsiteX103" fmla="*/ 894080 w 4570627"/>
                <a:gd name="connsiteY103" fmla="*/ 4439920 h 4998172"/>
                <a:gd name="connsiteX104" fmla="*/ 1122680 w 4570627"/>
                <a:gd name="connsiteY104" fmla="*/ 4470400 h 4998172"/>
                <a:gd name="connsiteX105" fmla="*/ 1168400 w 4570627"/>
                <a:gd name="connsiteY105" fmla="*/ 4401820 h 4998172"/>
                <a:gd name="connsiteX106" fmla="*/ 1122680 w 4570627"/>
                <a:gd name="connsiteY106" fmla="*/ 4272280 h 4998172"/>
                <a:gd name="connsiteX107" fmla="*/ 1160780 w 4570627"/>
                <a:gd name="connsiteY107" fmla="*/ 4218940 h 4998172"/>
                <a:gd name="connsiteX108" fmla="*/ 1130300 w 4570627"/>
                <a:gd name="connsiteY108" fmla="*/ 4127500 h 4998172"/>
                <a:gd name="connsiteX109" fmla="*/ 1160780 w 4570627"/>
                <a:gd name="connsiteY109" fmla="*/ 3807460 h 4998172"/>
                <a:gd name="connsiteX110" fmla="*/ 1038860 w 4570627"/>
                <a:gd name="connsiteY110" fmla="*/ 3395980 h 4998172"/>
                <a:gd name="connsiteX111" fmla="*/ 1130300 w 4570627"/>
                <a:gd name="connsiteY111" fmla="*/ 3235960 h 4998172"/>
                <a:gd name="connsiteX112" fmla="*/ 1183640 w 4570627"/>
                <a:gd name="connsiteY112" fmla="*/ 3274060 h 4998172"/>
                <a:gd name="connsiteX113" fmla="*/ 1336040 w 4570627"/>
                <a:gd name="connsiteY113" fmla="*/ 3175000 h 4998172"/>
                <a:gd name="connsiteX114" fmla="*/ 1351280 w 4570627"/>
                <a:gd name="connsiteY114" fmla="*/ 3045460 h 4998172"/>
                <a:gd name="connsiteX115" fmla="*/ 1290320 w 4570627"/>
                <a:gd name="connsiteY115" fmla="*/ 2969260 h 4998172"/>
                <a:gd name="connsiteX116" fmla="*/ 1290320 w 4570627"/>
                <a:gd name="connsiteY116" fmla="*/ 2923540 h 4998172"/>
                <a:gd name="connsiteX117" fmla="*/ 1366520 w 4570627"/>
                <a:gd name="connsiteY117" fmla="*/ 2923540 h 4998172"/>
                <a:gd name="connsiteX118" fmla="*/ 1389380 w 4570627"/>
                <a:gd name="connsiteY118" fmla="*/ 2969260 h 4998172"/>
                <a:gd name="connsiteX119" fmla="*/ 1518920 w 4570627"/>
                <a:gd name="connsiteY119" fmla="*/ 2938780 h 4998172"/>
                <a:gd name="connsiteX120" fmla="*/ 1503680 w 4570627"/>
                <a:gd name="connsiteY120" fmla="*/ 2847340 h 4998172"/>
                <a:gd name="connsiteX121" fmla="*/ 1450340 w 4570627"/>
                <a:gd name="connsiteY121" fmla="*/ 2786380 h 4998172"/>
                <a:gd name="connsiteX122" fmla="*/ 1488440 w 4570627"/>
                <a:gd name="connsiteY122" fmla="*/ 2573020 h 4998172"/>
                <a:gd name="connsiteX123" fmla="*/ 1389380 w 4570627"/>
                <a:gd name="connsiteY123" fmla="*/ 2420620 h 4998172"/>
                <a:gd name="connsiteX124" fmla="*/ 1297940 w 4570627"/>
                <a:gd name="connsiteY124" fmla="*/ 2405380 h 4998172"/>
                <a:gd name="connsiteX125" fmla="*/ 1244600 w 4570627"/>
                <a:gd name="connsiteY125" fmla="*/ 2306320 h 4998172"/>
                <a:gd name="connsiteX126" fmla="*/ 1282700 w 4570627"/>
                <a:gd name="connsiteY126" fmla="*/ 2252980 h 4998172"/>
                <a:gd name="connsiteX127" fmla="*/ 1183640 w 4570627"/>
                <a:gd name="connsiteY127" fmla="*/ 2146300 h 4998172"/>
                <a:gd name="connsiteX128" fmla="*/ 1168400 w 4570627"/>
                <a:gd name="connsiteY128" fmla="*/ 2047240 h 4998172"/>
                <a:gd name="connsiteX129" fmla="*/ 1183640 w 4570627"/>
                <a:gd name="connsiteY129" fmla="*/ 2016760 h 4998172"/>
                <a:gd name="connsiteX130" fmla="*/ 1153160 w 4570627"/>
                <a:gd name="connsiteY130" fmla="*/ 1887220 h 4998172"/>
                <a:gd name="connsiteX131" fmla="*/ 1176020 w 4570627"/>
                <a:gd name="connsiteY131" fmla="*/ 1871980 h 4998172"/>
                <a:gd name="connsiteX132" fmla="*/ 1145540 w 4570627"/>
                <a:gd name="connsiteY132" fmla="*/ 1658620 h 4998172"/>
                <a:gd name="connsiteX133" fmla="*/ 1099820 w 4570627"/>
                <a:gd name="connsiteY133" fmla="*/ 1620520 h 4998172"/>
                <a:gd name="connsiteX134" fmla="*/ 1076960 w 4570627"/>
                <a:gd name="connsiteY134" fmla="*/ 1643380 h 4998172"/>
                <a:gd name="connsiteX135" fmla="*/ 1069340 w 4570627"/>
                <a:gd name="connsiteY135" fmla="*/ 1711960 h 4998172"/>
                <a:gd name="connsiteX136" fmla="*/ 970280 w 4570627"/>
                <a:gd name="connsiteY136" fmla="*/ 1719580 h 4998172"/>
                <a:gd name="connsiteX137" fmla="*/ 932180 w 4570627"/>
                <a:gd name="connsiteY137" fmla="*/ 1574800 h 4998172"/>
                <a:gd name="connsiteX138" fmla="*/ 871220 w 4570627"/>
                <a:gd name="connsiteY138" fmla="*/ 1620520 h 4998172"/>
                <a:gd name="connsiteX139" fmla="*/ 855980 w 4570627"/>
                <a:gd name="connsiteY139" fmla="*/ 1574800 h 4998172"/>
                <a:gd name="connsiteX140" fmla="*/ 924560 w 4570627"/>
                <a:gd name="connsiteY140" fmla="*/ 1513840 h 4998172"/>
                <a:gd name="connsiteX141" fmla="*/ 855980 w 4570627"/>
                <a:gd name="connsiteY141" fmla="*/ 1384300 h 4998172"/>
                <a:gd name="connsiteX142" fmla="*/ 825500 w 4570627"/>
                <a:gd name="connsiteY142" fmla="*/ 1330960 h 4998172"/>
                <a:gd name="connsiteX143" fmla="*/ 787400 w 4570627"/>
                <a:gd name="connsiteY143" fmla="*/ 1430020 h 4998172"/>
                <a:gd name="connsiteX144" fmla="*/ 772160 w 4570627"/>
                <a:gd name="connsiteY144" fmla="*/ 1369060 h 4998172"/>
                <a:gd name="connsiteX145" fmla="*/ 688340 w 4570627"/>
                <a:gd name="connsiteY145" fmla="*/ 1422400 h 4998172"/>
                <a:gd name="connsiteX146" fmla="*/ 695960 w 4570627"/>
                <a:gd name="connsiteY146" fmla="*/ 1277620 h 4998172"/>
                <a:gd name="connsiteX147" fmla="*/ 497840 w 4570627"/>
                <a:gd name="connsiteY147" fmla="*/ 1262380 h 4998172"/>
                <a:gd name="connsiteX148" fmla="*/ 353060 w 4570627"/>
                <a:gd name="connsiteY148" fmla="*/ 1315720 h 4998172"/>
                <a:gd name="connsiteX149" fmla="*/ 467360 w 4570627"/>
                <a:gd name="connsiteY149" fmla="*/ 1376680 h 4998172"/>
                <a:gd name="connsiteX150" fmla="*/ 474980 w 4570627"/>
                <a:gd name="connsiteY150" fmla="*/ 1452880 h 4998172"/>
                <a:gd name="connsiteX151" fmla="*/ 391160 w 4570627"/>
                <a:gd name="connsiteY151" fmla="*/ 1452880 h 4998172"/>
                <a:gd name="connsiteX152" fmla="*/ 360680 w 4570627"/>
                <a:gd name="connsiteY152" fmla="*/ 1551940 h 4998172"/>
                <a:gd name="connsiteX153" fmla="*/ 132080 w 4570627"/>
                <a:gd name="connsiteY153" fmla="*/ 1567180 h 4998172"/>
                <a:gd name="connsiteX154" fmla="*/ 69850 w 4570627"/>
                <a:gd name="connsiteY154" fmla="*/ 1533991 h 4998172"/>
                <a:gd name="connsiteX155" fmla="*/ 69850 w 4570627"/>
                <a:gd name="connsiteY155" fmla="*/ 1435100 h 4998172"/>
                <a:gd name="connsiteX156" fmla="*/ 146050 w 4570627"/>
                <a:gd name="connsiteY156" fmla="*/ 1295400 h 4998172"/>
                <a:gd name="connsiteX157" fmla="*/ 82550 w 4570627"/>
                <a:gd name="connsiteY157" fmla="*/ 1193800 h 4998172"/>
                <a:gd name="connsiteX158" fmla="*/ 25400 w 4570627"/>
                <a:gd name="connsiteY158" fmla="*/ 1168400 h 4998172"/>
                <a:gd name="connsiteX159" fmla="*/ 31750 w 4570627"/>
                <a:gd name="connsiteY159" fmla="*/ 952500 h 4998172"/>
                <a:gd name="connsiteX160" fmla="*/ 0 w 4570627"/>
                <a:gd name="connsiteY160" fmla="*/ 876300 h 4998172"/>
                <a:gd name="connsiteX161" fmla="*/ 0 w 4570627"/>
                <a:gd name="connsiteY161" fmla="*/ 774700 h 4998172"/>
                <a:gd name="connsiteX162" fmla="*/ 107950 w 4570627"/>
                <a:gd name="connsiteY162" fmla="*/ 755650 h 4998172"/>
                <a:gd name="connsiteX163" fmla="*/ 127000 w 4570627"/>
                <a:gd name="connsiteY163" fmla="*/ 806450 h 4998172"/>
                <a:gd name="connsiteX164" fmla="*/ 215900 w 4570627"/>
                <a:gd name="connsiteY164" fmla="*/ 749300 h 4998172"/>
                <a:gd name="connsiteX165" fmla="*/ 368300 w 4570627"/>
                <a:gd name="connsiteY165" fmla="*/ 749300 h 4998172"/>
                <a:gd name="connsiteX166" fmla="*/ 368300 w 4570627"/>
                <a:gd name="connsiteY166" fmla="*/ 800100 h 4998172"/>
                <a:gd name="connsiteX167" fmla="*/ 495300 w 4570627"/>
                <a:gd name="connsiteY167" fmla="*/ 800100 h 4998172"/>
                <a:gd name="connsiteX168" fmla="*/ 488950 w 4570627"/>
                <a:gd name="connsiteY168" fmla="*/ 711200 h 4998172"/>
                <a:gd name="connsiteX169" fmla="*/ 488950 w 4570627"/>
                <a:gd name="connsiteY169" fmla="*/ 603250 h 4998172"/>
                <a:gd name="connsiteX170" fmla="*/ 596900 w 4570627"/>
                <a:gd name="connsiteY170" fmla="*/ 615950 h 4998172"/>
                <a:gd name="connsiteX171" fmla="*/ 679450 w 4570627"/>
                <a:gd name="connsiteY171" fmla="*/ 514350 h 4998172"/>
                <a:gd name="connsiteX172" fmla="*/ 717550 w 4570627"/>
                <a:gd name="connsiteY172" fmla="*/ 311150 h 4998172"/>
                <a:gd name="connsiteX173" fmla="*/ 812800 w 4570627"/>
                <a:gd name="connsiteY173" fmla="*/ 361950 h 4998172"/>
                <a:gd name="connsiteX174" fmla="*/ 952500 w 4570627"/>
                <a:gd name="connsiteY174" fmla="*/ 266700 h 4998172"/>
                <a:gd name="connsiteX175" fmla="*/ 979517 w 4570627"/>
                <a:gd name="connsiteY175" fmla="*/ 226177 h 4998172"/>
                <a:gd name="connsiteX176" fmla="*/ 977900 w 4570627"/>
                <a:gd name="connsiteY176" fmla="*/ 273050 h 4998172"/>
                <a:gd name="connsiteX177" fmla="*/ 1060450 w 4570627"/>
                <a:gd name="connsiteY177" fmla="*/ 177800 h 4998172"/>
                <a:gd name="connsiteX178" fmla="*/ 812800 w 4570627"/>
                <a:gd name="connsiteY178" fmla="*/ 12701 h 4998172"/>
                <a:gd name="connsiteX179" fmla="*/ 812801 w 4570627"/>
                <a:gd name="connsiteY179" fmla="*/ 12701 h 4998172"/>
                <a:gd name="connsiteX180" fmla="*/ 869950 w 4570627"/>
                <a:gd name="connsiteY180" fmla="*/ 69850 h 4998172"/>
                <a:gd name="connsiteX181" fmla="*/ 920750 w 4570627"/>
                <a:gd name="connsiteY181" fmla="*/ 57150 h 4998172"/>
                <a:gd name="connsiteX182" fmla="*/ 920750 w 4570627"/>
                <a:gd name="connsiteY182" fmla="*/ 57151 h 4998172"/>
                <a:gd name="connsiteX183" fmla="*/ 869950 w 4570627"/>
                <a:gd name="connsiteY183" fmla="*/ 69851 h 4998172"/>
                <a:gd name="connsiteX184" fmla="*/ 812800 w 4570627"/>
                <a:gd name="connsiteY184" fmla="*/ 12701 h 4998172"/>
                <a:gd name="connsiteX185" fmla="*/ 984250 w 4570627"/>
                <a:gd name="connsiteY185" fmla="*/ 0 h 4998172"/>
                <a:gd name="connsiteX186" fmla="*/ 1022350 w 4570627"/>
                <a:gd name="connsiteY186" fmla="*/ 50800 h 4998172"/>
                <a:gd name="connsiteX187" fmla="*/ 1022350 w 4570627"/>
                <a:gd name="connsiteY187" fmla="*/ 50801 h 4998172"/>
                <a:gd name="connsiteX188" fmla="*/ 984250 w 4570627"/>
                <a:gd name="connsiteY188" fmla="*/ 1 h 4998172"/>
                <a:gd name="connsiteX189" fmla="*/ 908051 w 4570627"/>
                <a:gd name="connsiteY189" fmla="*/ 6351 h 4998172"/>
                <a:gd name="connsiteX190" fmla="*/ 908050 w 4570627"/>
                <a:gd name="connsiteY190" fmla="*/ 6350 h 4998172"/>
                <a:gd name="connsiteX191" fmla="*/ 984250 w 4570627"/>
                <a:gd name="connsiteY191" fmla="*/ 0 h 4998172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2844800 w 4570627"/>
                <a:gd name="connsiteY5" fmla="*/ 279402 h 4998172"/>
                <a:gd name="connsiteX6" fmla="*/ 2749551 w 4570627"/>
                <a:gd name="connsiteY6" fmla="*/ 196852 h 4998172"/>
                <a:gd name="connsiteX7" fmla="*/ 2844800 w 4570627"/>
                <a:gd name="connsiteY7" fmla="*/ 279401 h 4998172"/>
                <a:gd name="connsiteX8" fmla="*/ 2844800 w 4570627"/>
                <a:gd name="connsiteY8" fmla="*/ 279402 h 4998172"/>
                <a:gd name="connsiteX9" fmla="*/ 1060450 w 4570627"/>
                <a:gd name="connsiteY9" fmla="*/ 177800 h 4998172"/>
                <a:gd name="connsiteX10" fmla="*/ 1149350 w 4570627"/>
                <a:gd name="connsiteY10" fmla="*/ 215900 h 4998172"/>
                <a:gd name="connsiteX11" fmla="*/ 1263650 w 4570627"/>
                <a:gd name="connsiteY11" fmla="*/ 292100 h 4998172"/>
                <a:gd name="connsiteX12" fmla="*/ 1320800 w 4570627"/>
                <a:gd name="connsiteY12" fmla="*/ 412750 h 4998172"/>
                <a:gd name="connsiteX13" fmla="*/ 1371600 w 4570627"/>
                <a:gd name="connsiteY13" fmla="*/ 393700 h 4998172"/>
                <a:gd name="connsiteX14" fmla="*/ 1479550 w 4570627"/>
                <a:gd name="connsiteY14" fmla="*/ 501650 h 4998172"/>
                <a:gd name="connsiteX15" fmla="*/ 1530350 w 4570627"/>
                <a:gd name="connsiteY15" fmla="*/ 666750 h 4998172"/>
                <a:gd name="connsiteX16" fmla="*/ 1612900 w 4570627"/>
                <a:gd name="connsiteY16" fmla="*/ 711200 h 4998172"/>
                <a:gd name="connsiteX17" fmla="*/ 1638300 w 4570627"/>
                <a:gd name="connsiteY17" fmla="*/ 641350 h 4998172"/>
                <a:gd name="connsiteX18" fmla="*/ 1739900 w 4570627"/>
                <a:gd name="connsiteY18" fmla="*/ 647700 h 4998172"/>
                <a:gd name="connsiteX19" fmla="*/ 1746250 w 4570627"/>
                <a:gd name="connsiteY19" fmla="*/ 596900 h 4998172"/>
                <a:gd name="connsiteX20" fmla="*/ 1689100 w 4570627"/>
                <a:gd name="connsiteY20" fmla="*/ 565150 h 4998172"/>
                <a:gd name="connsiteX21" fmla="*/ 1638300 w 4570627"/>
                <a:gd name="connsiteY21" fmla="*/ 520700 h 4998172"/>
                <a:gd name="connsiteX22" fmla="*/ 1625600 w 4570627"/>
                <a:gd name="connsiteY22" fmla="*/ 469900 h 4998172"/>
                <a:gd name="connsiteX23" fmla="*/ 1778000 w 4570627"/>
                <a:gd name="connsiteY23" fmla="*/ 412750 h 4998172"/>
                <a:gd name="connsiteX24" fmla="*/ 1879600 w 4570627"/>
                <a:gd name="connsiteY24" fmla="*/ 425450 h 4998172"/>
                <a:gd name="connsiteX25" fmla="*/ 1873250 w 4570627"/>
                <a:gd name="connsiteY25" fmla="*/ 488950 h 4998172"/>
                <a:gd name="connsiteX26" fmla="*/ 1981200 w 4570627"/>
                <a:gd name="connsiteY26" fmla="*/ 482600 h 4998172"/>
                <a:gd name="connsiteX27" fmla="*/ 2006600 w 4570627"/>
                <a:gd name="connsiteY27" fmla="*/ 482600 h 4998172"/>
                <a:gd name="connsiteX28" fmla="*/ 2032000 w 4570627"/>
                <a:gd name="connsiteY28" fmla="*/ 584200 h 4998172"/>
                <a:gd name="connsiteX29" fmla="*/ 2133600 w 4570627"/>
                <a:gd name="connsiteY29" fmla="*/ 596900 h 4998172"/>
                <a:gd name="connsiteX30" fmla="*/ 2171700 w 4570627"/>
                <a:gd name="connsiteY30" fmla="*/ 463550 h 4998172"/>
                <a:gd name="connsiteX31" fmla="*/ 2146300 w 4570627"/>
                <a:gd name="connsiteY31" fmla="*/ 323850 h 4998172"/>
                <a:gd name="connsiteX32" fmla="*/ 2216150 w 4570627"/>
                <a:gd name="connsiteY32" fmla="*/ 241300 h 4998172"/>
                <a:gd name="connsiteX33" fmla="*/ 2279650 w 4570627"/>
                <a:gd name="connsiteY33" fmla="*/ 234950 h 4998172"/>
                <a:gd name="connsiteX34" fmla="*/ 2305050 w 4570627"/>
                <a:gd name="connsiteY34" fmla="*/ 330200 h 4998172"/>
                <a:gd name="connsiteX35" fmla="*/ 2374900 w 4570627"/>
                <a:gd name="connsiteY35" fmla="*/ 393700 h 4998172"/>
                <a:gd name="connsiteX36" fmla="*/ 2381250 w 4570627"/>
                <a:gd name="connsiteY36" fmla="*/ 457200 h 4998172"/>
                <a:gd name="connsiteX37" fmla="*/ 2514600 w 4570627"/>
                <a:gd name="connsiteY37" fmla="*/ 406400 h 4998172"/>
                <a:gd name="connsiteX38" fmla="*/ 2641600 w 4570627"/>
                <a:gd name="connsiteY38" fmla="*/ 381000 h 4998172"/>
                <a:gd name="connsiteX39" fmla="*/ 2686050 w 4570627"/>
                <a:gd name="connsiteY39" fmla="*/ 419100 h 4998172"/>
                <a:gd name="connsiteX40" fmla="*/ 2774950 w 4570627"/>
                <a:gd name="connsiteY40" fmla="*/ 368300 h 4998172"/>
                <a:gd name="connsiteX41" fmla="*/ 2796953 w 4570627"/>
                <a:gd name="connsiteY41" fmla="*/ 370396 h 4998172"/>
                <a:gd name="connsiteX42" fmla="*/ 2787650 w 4570627"/>
                <a:gd name="connsiteY42" fmla="*/ 349252 h 4998172"/>
                <a:gd name="connsiteX43" fmla="*/ 2857500 w 4570627"/>
                <a:gd name="connsiteY43" fmla="*/ 508001 h 4998172"/>
                <a:gd name="connsiteX44" fmla="*/ 2971800 w 4570627"/>
                <a:gd name="connsiteY44" fmla="*/ 533401 h 4998172"/>
                <a:gd name="connsiteX45" fmla="*/ 3054350 w 4570627"/>
                <a:gd name="connsiteY45" fmla="*/ 552451 h 4998172"/>
                <a:gd name="connsiteX46" fmla="*/ 3093057 w 4570627"/>
                <a:gd name="connsiteY46" fmla="*/ 707281 h 4998172"/>
                <a:gd name="connsiteX47" fmla="*/ 3011086 w 4570627"/>
                <a:gd name="connsiteY47" fmla="*/ 588423 h 4998172"/>
                <a:gd name="connsiteX48" fmla="*/ 2924805 w 4570627"/>
                <a:gd name="connsiteY48" fmla="*/ 674704 h 4998172"/>
                <a:gd name="connsiteX49" fmla="*/ 3026774 w 4570627"/>
                <a:gd name="connsiteY49" fmla="*/ 784516 h 4998172"/>
                <a:gd name="connsiteX50" fmla="*/ 3050305 w 4570627"/>
                <a:gd name="connsiteY50" fmla="*/ 957078 h 4998172"/>
                <a:gd name="connsiteX51" fmla="*/ 3348367 w 4570627"/>
                <a:gd name="connsiteY51" fmla="*/ 1129641 h 4998172"/>
                <a:gd name="connsiteX52" fmla="*/ 3411117 w 4570627"/>
                <a:gd name="connsiteY52" fmla="*/ 1239453 h 4998172"/>
                <a:gd name="connsiteX53" fmla="*/ 3262086 w 4570627"/>
                <a:gd name="connsiteY53" fmla="*/ 1419859 h 4998172"/>
                <a:gd name="connsiteX54" fmla="*/ 3395429 w 4570627"/>
                <a:gd name="connsiteY54" fmla="*/ 1663015 h 4998172"/>
                <a:gd name="connsiteX55" fmla="*/ 3489554 w 4570627"/>
                <a:gd name="connsiteY55" fmla="*/ 1945389 h 4998172"/>
                <a:gd name="connsiteX56" fmla="*/ 3638585 w 4570627"/>
                <a:gd name="connsiteY56" fmla="*/ 2110108 h 4998172"/>
                <a:gd name="connsiteX57" fmla="*/ 3756241 w 4570627"/>
                <a:gd name="connsiteY57" fmla="*/ 2015983 h 4998172"/>
                <a:gd name="connsiteX58" fmla="*/ 3905271 w 4570627"/>
                <a:gd name="connsiteY58" fmla="*/ 2259139 h 4998172"/>
                <a:gd name="connsiteX59" fmla="*/ 4007240 w 4570627"/>
                <a:gd name="connsiteY59" fmla="*/ 2376795 h 4998172"/>
                <a:gd name="connsiteX60" fmla="*/ 4124896 w 4570627"/>
                <a:gd name="connsiteY60" fmla="*/ 2376795 h 4998172"/>
                <a:gd name="connsiteX61" fmla="*/ 4328833 w 4570627"/>
                <a:gd name="connsiteY61" fmla="*/ 2659169 h 4998172"/>
                <a:gd name="connsiteX62" fmla="*/ 4446489 w 4570627"/>
                <a:gd name="connsiteY62" fmla="*/ 2643482 h 4998172"/>
                <a:gd name="connsiteX63" fmla="*/ 4564145 w 4570627"/>
                <a:gd name="connsiteY63" fmla="*/ 2768982 h 4998172"/>
                <a:gd name="connsiteX64" fmla="*/ 4570627 w 4570627"/>
                <a:gd name="connsiteY64" fmla="*/ 2778982 h 4998172"/>
                <a:gd name="connsiteX65" fmla="*/ 4493946 w 4570627"/>
                <a:gd name="connsiteY65" fmla="*/ 3147050 h 4998172"/>
                <a:gd name="connsiteX66" fmla="*/ 4274322 w 4570627"/>
                <a:gd name="connsiteY66" fmla="*/ 3162737 h 4998172"/>
                <a:gd name="connsiteX67" fmla="*/ 4180197 w 4570627"/>
                <a:gd name="connsiteY67" fmla="*/ 3492174 h 4998172"/>
                <a:gd name="connsiteX68" fmla="*/ 3819386 w 4570627"/>
                <a:gd name="connsiteY68" fmla="*/ 3617674 h 4998172"/>
                <a:gd name="connsiteX69" fmla="*/ 3552699 w 4570627"/>
                <a:gd name="connsiteY69" fmla="*/ 3774549 h 4998172"/>
                <a:gd name="connsiteX70" fmla="*/ 3552699 w 4570627"/>
                <a:gd name="connsiteY70" fmla="*/ 3884361 h 4998172"/>
                <a:gd name="connsiteX71" fmla="*/ 3788011 w 4570627"/>
                <a:gd name="connsiteY71" fmla="*/ 4088298 h 4998172"/>
                <a:gd name="connsiteX72" fmla="*/ 3772323 w 4570627"/>
                <a:gd name="connsiteY72" fmla="*/ 4307923 h 4998172"/>
                <a:gd name="connsiteX73" fmla="*/ 3866448 w 4570627"/>
                <a:gd name="connsiteY73" fmla="*/ 4417735 h 4998172"/>
                <a:gd name="connsiteX74" fmla="*/ 3897823 w 4570627"/>
                <a:gd name="connsiteY74" fmla="*/ 4653048 h 4998172"/>
                <a:gd name="connsiteX75" fmla="*/ 3819386 w 4570627"/>
                <a:gd name="connsiteY75" fmla="*/ 4762860 h 4998172"/>
                <a:gd name="connsiteX76" fmla="*/ 3662511 w 4570627"/>
                <a:gd name="connsiteY76" fmla="*/ 4684422 h 4998172"/>
                <a:gd name="connsiteX77" fmla="*/ 3615449 w 4570627"/>
                <a:gd name="connsiteY77" fmla="*/ 4605985 h 4998172"/>
                <a:gd name="connsiteX78" fmla="*/ 3615449 w 4570627"/>
                <a:gd name="connsiteY78" fmla="*/ 4464798 h 4998172"/>
                <a:gd name="connsiteX79" fmla="*/ 3458574 w 4570627"/>
                <a:gd name="connsiteY79" fmla="*/ 4402048 h 4998172"/>
                <a:gd name="connsiteX80" fmla="*/ 3395824 w 4570627"/>
                <a:gd name="connsiteY80" fmla="*/ 4527548 h 4998172"/>
                <a:gd name="connsiteX81" fmla="*/ 3160513 w 4570627"/>
                <a:gd name="connsiteY81" fmla="*/ 4449110 h 4998172"/>
                <a:gd name="connsiteX82" fmla="*/ 3144825 w 4570627"/>
                <a:gd name="connsiteY82" fmla="*/ 4386360 h 4998172"/>
                <a:gd name="connsiteX83" fmla="*/ 2940888 w 4570627"/>
                <a:gd name="connsiteY83" fmla="*/ 4464798 h 4998172"/>
                <a:gd name="connsiteX84" fmla="*/ 2831076 w 4570627"/>
                <a:gd name="connsiteY84" fmla="*/ 4574610 h 4998172"/>
                <a:gd name="connsiteX85" fmla="*/ 2564389 w 4570627"/>
                <a:gd name="connsiteY85" fmla="*/ 4605985 h 4998172"/>
                <a:gd name="connsiteX86" fmla="*/ 2329077 w 4570627"/>
                <a:gd name="connsiteY86" fmla="*/ 4621673 h 4998172"/>
                <a:gd name="connsiteX87" fmla="*/ 2125140 w 4570627"/>
                <a:gd name="connsiteY87" fmla="*/ 4809922 h 4998172"/>
                <a:gd name="connsiteX88" fmla="*/ 1936891 w 4570627"/>
                <a:gd name="connsiteY88" fmla="*/ 4856985 h 4998172"/>
                <a:gd name="connsiteX89" fmla="*/ 1717266 w 4570627"/>
                <a:gd name="connsiteY89" fmla="*/ 4747172 h 4998172"/>
                <a:gd name="connsiteX90" fmla="*/ 1701579 w 4570627"/>
                <a:gd name="connsiteY90" fmla="*/ 4621673 h 4998172"/>
                <a:gd name="connsiteX91" fmla="*/ 1576079 w 4570627"/>
                <a:gd name="connsiteY91" fmla="*/ 4574610 h 4998172"/>
                <a:gd name="connsiteX92" fmla="*/ 1419205 w 4570627"/>
                <a:gd name="connsiteY92" fmla="*/ 4574610 h 4998172"/>
                <a:gd name="connsiteX93" fmla="*/ 1340768 w 4570627"/>
                <a:gd name="connsiteY93" fmla="*/ 4668735 h 4998172"/>
                <a:gd name="connsiteX94" fmla="*/ 1309393 w 4570627"/>
                <a:gd name="connsiteY94" fmla="*/ 4825610 h 4998172"/>
                <a:gd name="connsiteX95" fmla="*/ 1246643 w 4570627"/>
                <a:gd name="connsiteY95" fmla="*/ 4919735 h 4998172"/>
                <a:gd name="connsiteX96" fmla="*/ 1152518 w 4570627"/>
                <a:gd name="connsiteY96" fmla="*/ 4998172 h 4998172"/>
                <a:gd name="connsiteX97" fmla="*/ 964268 w 4570627"/>
                <a:gd name="connsiteY97" fmla="*/ 4951110 h 4998172"/>
                <a:gd name="connsiteX98" fmla="*/ 948581 w 4570627"/>
                <a:gd name="connsiteY98" fmla="*/ 4684422 h 4998172"/>
                <a:gd name="connsiteX99" fmla="*/ 807394 w 4570627"/>
                <a:gd name="connsiteY99" fmla="*/ 4590298 h 4998172"/>
                <a:gd name="connsiteX100" fmla="*/ 773692 w 4570627"/>
                <a:gd name="connsiteY100" fmla="*/ 4590298 h 4998172"/>
                <a:gd name="connsiteX101" fmla="*/ 802640 w 4570627"/>
                <a:gd name="connsiteY101" fmla="*/ 4538980 h 4998172"/>
                <a:gd name="connsiteX102" fmla="*/ 894080 w 4570627"/>
                <a:gd name="connsiteY102" fmla="*/ 4439920 h 4998172"/>
                <a:gd name="connsiteX103" fmla="*/ 1122680 w 4570627"/>
                <a:gd name="connsiteY103" fmla="*/ 4470400 h 4998172"/>
                <a:gd name="connsiteX104" fmla="*/ 1168400 w 4570627"/>
                <a:gd name="connsiteY104" fmla="*/ 4401820 h 4998172"/>
                <a:gd name="connsiteX105" fmla="*/ 1122680 w 4570627"/>
                <a:gd name="connsiteY105" fmla="*/ 4272280 h 4998172"/>
                <a:gd name="connsiteX106" fmla="*/ 1160780 w 4570627"/>
                <a:gd name="connsiteY106" fmla="*/ 4218940 h 4998172"/>
                <a:gd name="connsiteX107" fmla="*/ 1130300 w 4570627"/>
                <a:gd name="connsiteY107" fmla="*/ 4127500 h 4998172"/>
                <a:gd name="connsiteX108" fmla="*/ 1160780 w 4570627"/>
                <a:gd name="connsiteY108" fmla="*/ 3807460 h 4998172"/>
                <a:gd name="connsiteX109" fmla="*/ 1038860 w 4570627"/>
                <a:gd name="connsiteY109" fmla="*/ 3395980 h 4998172"/>
                <a:gd name="connsiteX110" fmla="*/ 1130300 w 4570627"/>
                <a:gd name="connsiteY110" fmla="*/ 3235960 h 4998172"/>
                <a:gd name="connsiteX111" fmla="*/ 1183640 w 4570627"/>
                <a:gd name="connsiteY111" fmla="*/ 3274060 h 4998172"/>
                <a:gd name="connsiteX112" fmla="*/ 1336040 w 4570627"/>
                <a:gd name="connsiteY112" fmla="*/ 3175000 h 4998172"/>
                <a:gd name="connsiteX113" fmla="*/ 1351280 w 4570627"/>
                <a:gd name="connsiteY113" fmla="*/ 3045460 h 4998172"/>
                <a:gd name="connsiteX114" fmla="*/ 1290320 w 4570627"/>
                <a:gd name="connsiteY114" fmla="*/ 2969260 h 4998172"/>
                <a:gd name="connsiteX115" fmla="*/ 1290320 w 4570627"/>
                <a:gd name="connsiteY115" fmla="*/ 2923540 h 4998172"/>
                <a:gd name="connsiteX116" fmla="*/ 1366520 w 4570627"/>
                <a:gd name="connsiteY116" fmla="*/ 2923540 h 4998172"/>
                <a:gd name="connsiteX117" fmla="*/ 1389380 w 4570627"/>
                <a:gd name="connsiteY117" fmla="*/ 2969260 h 4998172"/>
                <a:gd name="connsiteX118" fmla="*/ 1518920 w 4570627"/>
                <a:gd name="connsiteY118" fmla="*/ 2938780 h 4998172"/>
                <a:gd name="connsiteX119" fmla="*/ 1503680 w 4570627"/>
                <a:gd name="connsiteY119" fmla="*/ 2847340 h 4998172"/>
                <a:gd name="connsiteX120" fmla="*/ 1450340 w 4570627"/>
                <a:gd name="connsiteY120" fmla="*/ 2786380 h 4998172"/>
                <a:gd name="connsiteX121" fmla="*/ 1488440 w 4570627"/>
                <a:gd name="connsiteY121" fmla="*/ 2573020 h 4998172"/>
                <a:gd name="connsiteX122" fmla="*/ 1389380 w 4570627"/>
                <a:gd name="connsiteY122" fmla="*/ 2420620 h 4998172"/>
                <a:gd name="connsiteX123" fmla="*/ 1297940 w 4570627"/>
                <a:gd name="connsiteY123" fmla="*/ 2405380 h 4998172"/>
                <a:gd name="connsiteX124" fmla="*/ 1244600 w 4570627"/>
                <a:gd name="connsiteY124" fmla="*/ 2306320 h 4998172"/>
                <a:gd name="connsiteX125" fmla="*/ 1282700 w 4570627"/>
                <a:gd name="connsiteY125" fmla="*/ 2252980 h 4998172"/>
                <a:gd name="connsiteX126" fmla="*/ 1183640 w 4570627"/>
                <a:gd name="connsiteY126" fmla="*/ 2146300 h 4998172"/>
                <a:gd name="connsiteX127" fmla="*/ 1168400 w 4570627"/>
                <a:gd name="connsiteY127" fmla="*/ 2047240 h 4998172"/>
                <a:gd name="connsiteX128" fmla="*/ 1183640 w 4570627"/>
                <a:gd name="connsiteY128" fmla="*/ 2016760 h 4998172"/>
                <a:gd name="connsiteX129" fmla="*/ 1153160 w 4570627"/>
                <a:gd name="connsiteY129" fmla="*/ 1887220 h 4998172"/>
                <a:gd name="connsiteX130" fmla="*/ 1176020 w 4570627"/>
                <a:gd name="connsiteY130" fmla="*/ 1871980 h 4998172"/>
                <a:gd name="connsiteX131" fmla="*/ 1145540 w 4570627"/>
                <a:gd name="connsiteY131" fmla="*/ 1658620 h 4998172"/>
                <a:gd name="connsiteX132" fmla="*/ 1099820 w 4570627"/>
                <a:gd name="connsiteY132" fmla="*/ 1620520 h 4998172"/>
                <a:gd name="connsiteX133" fmla="*/ 1076960 w 4570627"/>
                <a:gd name="connsiteY133" fmla="*/ 1643380 h 4998172"/>
                <a:gd name="connsiteX134" fmla="*/ 1069340 w 4570627"/>
                <a:gd name="connsiteY134" fmla="*/ 1711960 h 4998172"/>
                <a:gd name="connsiteX135" fmla="*/ 970280 w 4570627"/>
                <a:gd name="connsiteY135" fmla="*/ 1719580 h 4998172"/>
                <a:gd name="connsiteX136" fmla="*/ 932180 w 4570627"/>
                <a:gd name="connsiteY136" fmla="*/ 1574800 h 4998172"/>
                <a:gd name="connsiteX137" fmla="*/ 871220 w 4570627"/>
                <a:gd name="connsiteY137" fmla="*/ 1620520 h 4998172"/>
                <a:gd name="connsiteX138" fmla="*/ 855980 w 4570627"/>
                <a:gd name="connsiteY138" fmla="*/ 1574800 h 4998172"/>
                <a:gd name="connsiteX139" fmla="*/ 924560 w 4570627"/>
                <a:gd name="connsiteY139" fmla="*/ 1513840 h 4998172"/>
                <a:gd name="connsiteX140" fmla="*/ 855980 w 4570627"/>
                <a:gd name="connsiteY140" fmla="*/ 1384300 h 4998172"/>
                <a:gd name="connsiteX141" fmla="*/ 825500 w 4570627"/>
                <a:gd name="connsiteY141" fmla="*/ 1330960 h 4998172"/>
                <a:gd name="connsiteX142" fmla="*/ 787400 w 4570627"/>
                <a:gd name="connsiteY142" fmla="*/ 1430020 h 4998172"/>
                <a:gd name="connsiteX143" fmla="*/ 772160 w 4570627"/>
                <a:gd name="connsiteY143" fmla="*/ 1369060 h 4998172"/>
                <a:gd name="connsiteX144" fmla="*/ 688340 w 4570627"/>
                <a:gd name="connsiteY144" fmla="*/ 1422400 h 4998172"/>
                <a:gd name="connsiteX145" fmla="*/ 695960 w 4570627"/>
                <a:gd name="connsiteY145" fmla="*/ 1277620 h 4998172"/>
                <a:gd name="connsiteX146" fmla="*/ 497840 w 4570627"/>
                <a:gd name="connsiteY146" fmla="*/ 1262380 h 4998172"/>
                <a:gd name="connsiteX147" fmla="*/ 353060 w 4570627"/>
                <a:gd name="connsiteY147" fmla="*/ 1315720 h 4998172"/>
                <a:gd name="connsiteX148" fmla="*/ 467360 w 4570627"/>
                <a:gd name="connsiteY148" fmla="*/ 1376680 h 4998172"/>
                <a:gd name="connsiteX149" fmla="*/ 474980 w 4570627"/>
                <a:gd name="connsiteY149" fmla="*/ 1452880 h 4998172"/>
                <a:gd name="connsiteX150" fmla="*/ 391160 w 4570627"/>
                <a:gd name="connsiteY150" fmla="*/ 1452880 h 4998172"/>
                <a:gd name="connsiteX151" fmla="*/ 360680 w 4570627"/>
                <a:gd name="connsiteY151" fmla="*/ 1551940 h 4998172"/>
                <a:gd name="connsiteX152" fmla="*/ 132080 w 4570627"/>
                <a:gd name="connsiteY152" fmla="*/ 1567180 h 4998172"/>
                <a:gd name="connsiteX153" fmla="*/ 69850 w 4570627"/>
                <a:gd name="connsiteY153" fmla="*/ 1533991 h 4998172"/>
                <a:gd name="connsiteX154" fmla="*/ 69850 w 4570627"/>
                <a:gd name="connsiteY154" fmla="*/ 1435100 h 4998172"/>
                <a:gd name="connsiteX155" fmla="*/ 146050 w 4570627"/>
                <a:gd name="connsiteY155" fmla="*/ 1295400 h 4998172"/>
                <a:gd name="connsiteX156" fmla="*/ 82550 w 4570627"/>
                <a:gd name="connsiteY156" fmla="*/ 1193800 h 4998172"/>
                <a:gd name="connsiteX157" fmla="*/ 25400 w 4570627"/>
                <a:gd name="connsiteY157" fmla="*/ 1168400 h 4998172"/>
                <a:gd name="connsiteX158" fmla="*/ 31750 w 4570627"/>
                <a:gd name="connsiteY158" fmla="*/ 952500 h 4998172"/>
                <a:gd name="connsiteX159" fmla="*/ 0 w 4570627"/>
                <a:gd name="connsiteY159" fmla="*/ 876300 h 4998172"/>
                <a:gd name="connsiteX160" fmla="*/ 0 w 4570627"/>
                <a:gd name="connsiteY160" fmla="*/ 774700 h 4998172"/>
                <a:gd name="connsiteX161" fmla="*/ 107950 w 4570627"/>
                <a:gd name="connsiteY161" fmla="*/ 755650 h 4998172"/>
                <a:gd name="connsiteX162" fmla="*/ 127000 w 4570627"/>
                <a:gd name="connsiteY162" fmla="*/ 806450 h 4998172"/>
                <a:gd name="connsiteX163" fmla="*/ 215900 w 4570627"/>
                <a:gd name="connsiteY163" fmla="*/ 749300 h 4998172"/>
                <a:gd name="connsiteX164" fmla="*/ 368300 w 4570627"/>
                <a:gd name="connsiteY164" fmla="*/ 749300 h 4998172"/>
                <a:gd name="connsiteX165" fmla="*/ 368300 w 4570627"/>
                <a:gd name="connsiteY165" fmla="*/ 800100 h 4998172"/>
                <a:gd name="connsiteX166" fmla="*/ 495300 w 4570627"/>
                <a:gd name="connsiteY166" fmla="*/ 800100 h 4998172"/>
                <a:gd name="connsiteX167" fmla="*/ 488950 w 4570627"/>
                <a:gd name="connsiteY167" fmla="*/ 711200 h 4998172"/>
                <a:gd name="connsiteX168" fmla="*/ 488950 w 4570627"/>
                <a:gd name="connsiteY168" fmla="*/ 603250 h 4998172"/>
                <a:gd name="connsiteX169" fmla="*/ 596900 w 4570627"/>
                <a:gd name="connsiteY169" fmla="*/ 615950 h 4998172"/>
                <a:gd name="connsiteX170" fmla="*/ 679450 w 4570627"/>
                <a:gd name="connsiteY170" fmla="*/ 514350 h 4998172"/>
                <a:gd name="connsiteX171" fmla="*/ 717550 w 4570627"/>
                <a:gd name="connsiteY171" fmla="*/ 311150 h 4998172"/>
                <a:gd name="connsiteX172" fmla="*/ 812800 w 4570627"/>
                <a:gd name="connsiteY172" fmla="*/ 361950 h 4998172"/>
                <a:gd name="connsiteX173" fmla="*/ 952500 w 4570627"/>
                <a:gd name="connsiteY173" fmla="*/ 266700 h 4998172"/>
                <a:gd name="connsiteX174" fmla="*/ 979517 w 4570627"/>
                <a:gd name="connsiteY174" fmla="*/ 226177 h 4998172"/>
                <a:gd name="connsiteX175" fmla="*/ 977900 w 4570627"/>
                <a:gd name="connsiteY175" fmla="*/ 273050 h 4998172"/>
                <a:gd name="connsiteX176" fmla="*/ 1060450 w 4570627"/>
                <a:gd name="connsiteY176" fmla="*/ 177800 h 4998172"/>
                <a:gd name="connsiteX177" fmla="*/ 812800 w 4570627"/>
                <a:gd name="connsiteY177" fmla="*/ 12701 h 4998172"/>
                <a:gd name="connsiteX178" fmla="*/ 812801 w 4570627"/>
                <a:gd name="connsiteY178" fmla="*/ 12701 h 4998172"/>
                <a:gd name="connsiteX179" fmla="*/ 869950 w 4570627"/>
                <a:gd name="connsiteY179" fmla="*/ 69850 h 4998172"/>
                <a:gd name="connsiteX180" fmla="*/ 920750 w 4570627"/>
                <a:gd name="connsiteY180" fmla="*/ 57150 h 4998172"/>
                <a:gd name="connsiteX181" fmla="*/ 920750 w 4570627"/>
                <a:gd name="connsiteY181" fmla="*/ 57151 h 4998172"/>
                <a:gd name="connsiteX182" fmla="*/ 869950 w 4570627"/>
                <a:gd name="connsiteY182" fmla="*/ 69851 h 4998172"/>
                <a:gd name="connsiteX183" fmla="*/ 812800 w 4570627"/>
                <a:gd name="connsiteY183" fmla="*/ 12701 h 4998172"/>
                <a:gd name="connsiteX184" fmla="*/ 984250 w 4570627"/>
                <a:gd name="connsiteY184" fmla="*/ 0 h 4998172"/>
                <a:gd name="connsiteX185" fmla="*/ 1022350 w 4570627"/>
                <a:gd name="connsiteY185" fmla="*/ 50800 h 4998172"/>
                <a:gd name="connsiteX186" fmla="*/ 1022350 w 4570627"/>
                <a:gd name="connsiteY186" fmla="*/ 50801 h 4998172"/>
                <a:gd name="connsiteX187" fmla="*/ 984250 w 4570627"/>
                <a:gd name="connsiteY187" fmla="*/ 1 h 4998172"/>
                <a:gd name="connsiteX188" fmla="*/ 908051 w 4570627"/>
                <a:gd name="connsiteY188" fmla="*/ 6351 h 4998172"/>
                <a:gd name="connsiteX189" fmla="*/ 908050 w 4570627"/>
                <a:gd name="connsiteY189" fmla="*/ 6350 h 4998172"/>
                <a:gd name="connsiteX190" fmla="*/ 984250 w 4570627"/>
                <a:gd name="connsiteY190" fmla="*/ 0 h 4998172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2844800 w 4570627"/>
                <a:gd name="connsiteY5" fmla="*/ 279401 h 4998172"/>
                <a:gd name="connsiteX6" fmla="*/ 2749551 w 4570627"/>
                <a:gd name="connsiteY6" fmla="*/ 196852 h 4998172"/>
                <a:gd name="connsiteX7" fmla="*/ 2844800 w 4570627"/>
                <a:gd name="connsiteY7" fmla="*/ 279401 h 4998172"/>
                <a:gd name="connsiteX8" fmla="*/ 1060450 w 4570627"/>
                <a:gd name="connsiteY8" fmla="*/ 177800 h 4998172"/>
                <a:gd name="connsiteX9" fmla="*/ 1149350 w 4570627"/>
                <a:gd name="connsiteY9" fmla="*/ 215900 h 4998172"/>
                <a:gd name="connsiteX10" fmla="*/ 1263650 w 4570627"/>
                <a:gd name="connsiteY10" fmla="*/ 292100 h 4998172"/>
                <a:gd name="connsiteX11" fmla="*/ 1320800 w 4570627"/>
                <a:gd name="connsiteY11" fmla="*/ 412750 h 4998172"/>
                <a:gd name="connsiteX12" fmla="*/ 1371600 w 4570627"/>
                <a:gd name="connsiteY12" fmla="*/ 393700 h 4998172"/>
                <a:gd name="connsiteX13" fmla="*/ 1479550 w 4570627"/>
                <a:gd name="connsiteY13" fmla="*/ 501650 h 4998172"/>
                <a:gd name="connsiteX14" fmla="*/ 1530350 w 4570627"/>
                <a:gd name="connsiteY14" fmla="*/ 666750 h 4998172"/>
                <a:gd name="connsiteX15" fmla="*/ 1612900 w 4570627"/>
                <a:gd name="connsiteY15" fmla="*/ 711200 h 4998172"/>
                <a:gd name="connsiteX16" fmla="*/ 1638300 w 4570627"/>
                <a:gd name="connsiteY16" fmla="*/ 641350 h 4998172"/>
                <a:gd name="connsiteX17" fmla="*/ 1739900 w 4570627"/>
                <a:gd name="connsiteY17" fmla="*/ 647700 h 4998172"/>
                <a:gd name="connsiteX18" fmla="*/ 1746250 w 4570627"/>
                <a:gd name="connsiteY18" fmla="*/ 596900 h 4998172"/>
                <a:gd name="connsiteX19" fmla="*/ 1689100 w 4570627"/>
                <a:gd name="connsiteY19" fmla="*/ 565150 h 4998172"/>
                <a:gd name="connsiteX20" fmla="*/ 1638300 w 4570627"/>
                <a:gd name="connsiteY20" fmla="*/ 520700 h 4998172"/>
                <a:gd name="connsiteX21" fmla="*/ 1625600 w 4570627"/>
                <a:gd name="connsiteY21" fmla="*/ 469900 h 4998172"/>
                <a:gd name="connsiteX22" fmla="*/ 1778000 w 4570627"/>
                <a:gd name="connsiteY22" fmla="*/ 412750 h 4998172"/>
                <a:gd name="connsiteX23" fmla="*/ 1879600 w 4570627"/>
                <a:gd name="connsiteY23" fmla="*/ 425450 h 4998172"/>
                <a:gd name="connsiteX24" fmla="*/ 1873250 w 4570627"/>
                <a:gd name="connsiteY24" fmla="*/ 488950 h 4998172"/>
                <a:gd name="connsiteX25" fmla="*/ 1981200 w 4570627"/>
                <a:gd name="connsiteY25" fmla="*/ 482600 h 4998172"/>
                <a:gd name="connsiteX26" fmla="*/ 2006600 w 4570627"/>
                <a:gd name="connsiteY26" fmla="*/ 482600 h 4998172"/>
                <a:gd name="connsiteX27" fmla="*/ 2032000 w 4570627"/>
                <a:gd name="connsiteY27" fmla="*/ 584200 h 4998172"/>
                <a:gd name="connsiteX28" fmla="*/ 2133600 w 4570627"/>
                <a:gd name="connsiteY28" fmla="*/ 596900 h 4998172"/>
                <a:gd name="connsiteX29" fmla="*/ 2171700 w 4570627"/>
                <a:gd name="connsiteY29" fmla="*/ 463550 h 4998172"/>
                <a:gd name="connsiteX30" fmla="*/ 2146300 w 4570627"/>
                <a:gd name="connsiteY30" fmla="*/ 323850 h 4998172"/>
                <a:gd name="connsiteX31" fmla="*/ 2216150 w 4570627"/>
                <a:gd name="connsiteY31" fmla="*/ 241300 h 4998172"/>
                <a:gd name="connsiteX32" fmla="*/ 2279650 w 4570627"/>
                <a:gd name="connsiteY32" fmla="*/ 234950 h 4998172"/>
                <a:gd name="connsiteX33" fmla="*/ 2305050 w 4570627"/>
                <a:gd name="connsiteY33" fmla="*/ 330200 h 4998172"/>
                <a:gd name="connsiteX34" fmla="*/ 2374900 w 4570627"/>
                <a:gd name="connsiteY34" fmla="*/ 393700 h 4998172"/>
                <a:gd name="connsiteX35" fmla="*/ 2381250 w 4570627"/>
                <a:gd name="connsiteY35" fmla="*/ 457200 h 4998172"/>
                <a:gd name="connsiteX36" fmla="*/ 2514600 w 4570627"/>
                <a:gd name="connsiteY36" fmla="*/ 406400 h 4998172"/>
                <a:gd name="connsiteX37" fmla="*/ 2641600 w 4570627"/>
                <a:gd name="connsiteY37" fmla="*/ 381000 h 4998172"/>
                <a:gd name="connsiteX38" fmla="*/ 2686050 w 4570627"/>
                <a:gd name="connsiteY38" fmla="*/ 419100 h 4998172"/>
                <a:gd name="connsiteX39" fmla="*/ 2774950 w 4570627"/>
                <a:gd name="connsiteY39" fmla="*/ 368300 h 4998172"/>
                <a:gd name="connsiteX40" fmla="*/ 2796953 w 4570627"/>
                <a:gd name="connsiteY40" fmla="*/ 370396 h 4998172"/>
                <a:gd name="connsiteX41" fmla="*/ 2787650 w 4570627"/>
                <a:gd name="connsiteY41" fmla="*/ 349252 h 4998172"/>
                <a:gd name="connsiteX42" fmla="*/ 2857500 w 4570627"/>
                <a:gd name="connsiteY42" fmla="*/ 508001 h 4998172"/>
                <a:gd name="connsiteX43" fmla="*/ 2971800 w 4570627"/>
                <a:gd name="connsiteY43" fmla="*/ 533401 h 4998172"/>
                <a:gd name="connsiteX44" fmla="*/ 3054350 w 4570627"/>
                <a:gd name="connsiteY44" fmla="*/ 552451 h 4998172"/>
                <a:gd name="connsiteX45" fmla="*/ 3093057 w 4570627"/>
                <a:gd name="connsiteY45" fmla="*/ 707281 h 4998172"/>
                <a:gd name="connsiteX46" fmla="*/ 3011086 w 4570627"/>
                <a:gd name="connsiteY46" fmla="*/ 588423 h 4998172"/>
                <a:gd name="connsiteX47" fmla="*/ 2924805 w 4570627"/>
                <a:gd name="connsiteY47" fmla="*/ 674704 h 4998172"/>
                <a:gd name="connsiteX48" fmla="*/ 3026774 w 4570627"/>
                <a:gd name="connsiteY48" fmla="*/ 784516 h 4998172"/>
                <a:gd name="connsiteX49" fmla="*/ 3050305 w 4570627"/>
                <a:gd name="connsiteY49" fmla="*/ 957078 h 4998172"/>
                <a:gd name="connsiteX50" fmla="*/ 3348367 w 4570627"/>
                <a:gd name="connsiteY50" fmla="*/ 1129641 h 4998172"/>
                <a:gd name="connsiteX51" fmla="*/ 3411117 w 4570627"/>
                <a:gd name="connsiteY51" fmla="*/ 1239453 h 4998172"/>
                <a:gd name="connsiteX52" fmla="*/ 3262086 w 4570627"/>
                <a:gd name="connsiteY52" fmla="*/ 1419859 h 4998172"/>
                <a:gd name="connsiteX53" fmla="*/ 3395429 w 4570627"/>
                <a:gd name="connsiteY53" fmla="*/ 1663015 h 4998172"/>
                <a:gd name="connsiteX54" fmla="*/ 3489554 w 4570627"/>
                <a:gd name="connsiteY54" fmla="*/ 1945389 h 4998172"/>
                <a:gd name="connsiteX55" fmla="*/ 3638585 w 4570627"/>
                <a:gd name="connsiteY55" fmla="*/ 2110108 h 4998172"/>
                <a:gd name="connsiteX56" fmla="*/ 3756241 w 4570627"/>
                <a:gd name="connsiteY56" fmla="*/ 2015983 h 4998172"/>
                <a:gd name="connsiteX57" fmla="*/ 3905271 w 4570627"/>
                <a:gd name="connsiteY57" fmla="*/ 2259139 h 4998172"/>
                <a:gd name="connsiteX58" fmla="*/ 4007240 w 4570627"/>
                <a:gd name="connsiteY58" fmla="*/ 2376795 h 4998172"/>
                <a:gd name="connsiteX59" fmla="*/ 4124896 w 4570627"/>
                <a:gd name="connsiteY59" fmla="*/ 2376795 h 4998172"/>
                <a:gd name="connsiteX60" fmla="*/ 4328833 w 4570627"/>
                <a:gd name="connsiteY60" fmla="*/ 2659169 h 4998172"/>
                <a:gd name="connsiteX61" fmla="*/ 4446489 w 4570627"/>
                <a:gd name="connsiteY61" fmla="*/ 2643482 h 4998172"/>
                <a:gd name="connsiteX62" fmla="*/ 4564145 w 4570627"/>
                <a:gd name="connsiteY62" fmla="*/ 2768982 h 4998172"/>
                <a:gd name="connsiteX63" fmla="*/ 4570627 w 4570627"/>
                <a:gd name="connsiteY63" fmla="*/ 2778982 h 4998172"/>
                <a:gd name="connsiteX64" fmla="*/ 4493946 w 4570627"/>
                <a:gd name="connsiteY64" fmla="*/ 3147050 h 4998172"/>
                <a:gd name="connsiteX65" fmla="*/ 4274322 w 4570627"/>
                <a:gd name="connsiteY65" fmla="*/ 3162737 h 4998172"/>
                <a:gd name="connsiteX66" fmla="*/ 4180197 w 4570627"/>
                <a:gd name="connsiteY66" fmla="*/ 3492174 h 4998172"/>
                <a:gd name="connsiteX67" fmla="*/ 3819386 w 4570627"/>
                <a:gd name="connsiteY67" fmla="*/ 3617674 h 4998172"/>
                <a:gd name="connsiteX68" fmla="*/ 3552699 w 4570627"/>
                <a:gd name="connsiteY68" fmla="*/ 3774549 h 4998172"/>
                <a:gd name="connsiteX69" fmla="*/ 3552699 w 4570627"/>
                <a:gd name="connsiteY69" fmla="*/ 3884361 h 4998172"/>
                <a:gd name="connsiteX70" fmla="*/ 3788011 w 4570627"/>
                <a:gd name="connsiteY70" fmla="*/ 4088298 h 4998172"/>
                <a:gd name="connsiteX71" fmla="*/ 3772323 w 4570627"/>
                <a:gd name="connsiteY71" fmla="*/ 4307923 h 4998172"/>
                <a:gd name="connsiteX72" fmla="*/ 3866448 w 4570627"/>
                <a:gd name="connsiteY72" fmla="*/ 4417735 h 4998172"/>
                <a:gd name="connsiteX73" fmla="*/ 3897823 w 4570627"/>
                <a:gd name="connsiteY73" fmla="*/ 4653048 h 4998172"/>
                <a:gd name="connsiteX74" fmla="*/ 3819386 w 4570627"/>
                <a:gd name="connsiteY74" fmla="*/ 4762860 h 4998172"/>
                <a:gd name="connsiteX75" fmla="*/ 3662511 w 4570627"/>
                <a:gd name="connsiteY75" fmla="*/ 4684422 h 4998172"/>
                <a:gd name="connsiteX76" fmla="*/ 3615449 w 4570627"/>
                <a:gd name="connsiteY76" fmla="*/ 4605985 h 4998172"/>
                <a:gd name="connsiteX77" fmla="*/ 3615449 w 4570627"/>
                <a:gd name="connsiteY77" fmla="*/ 4464798 h 4998172"/>
                <a:gd name="connsiteX78" fmla="*/ 3458574 w 4570627"/>
                <a:gd name="connsiteY78" fmla="*/ 4402048 h 4998172"/>
                <a:gd name="connsiteX79" fmla="*/ 3395824 w 4570627"/>
                <a:gd name="connsiteY79" fmla="*/ 4527548 h 4998172"/>
                <a:gd name="connsiteX80" fmla="*/ 3160513 w 4570627"/>
                <a:gd name="connsiteY80" fmla="*/ 4449110 h 4998172"/>
                <a:gd name="connsiteX81" fmla="*/ 3144825 w 4570627"/>
                <a:gd name="connsiteY81" fmla="*/ 4386360 h 4998172"/>
                <a:gd name="connsiteX82" fmla="*/ 2940888 w 4570627"/>
                <a:gd name="connsiteY82" fmla="*/ 4464798 h 4998172"/>
                <a:gd name="connsiteX83" fmla="*/ 2831076 w 4570627"/>
                <a:gd name="connsiteY83" fmla="*/ 4574610 h 4998172"/>
                <a:gd name="connsiteX84" fmla="*/ 2564389 w 4570627"/>
                <a:gd name="connsiteY84" fmla="*/ 4605985 h 4998172"/>
                <a:gd name="connsiteX85" fmla="*/ 2329077 w 4570627"/>
                <a:gd name="connsiteY85" fmla="*/ 4621673 h 4998172"/>
                <a:gd name="connsiteX86" fmla="*/ 2125140 w 4570627"/>
                <a:gd name="connsiteY86" fmla="*/ 4809922 h 4998172"/>
                <a:gd name="connsiteX87" fmla="*/ 1936891 w 4570627"/>
                <a:gd name="connsiteY87" fmla="*/ 4856985 h 4998172"/>
                <a:gd name="connsiteX88" fmla="*/ 1717266 w 4570627"/>
                <a:gd name="connsiteY88" fmla="*/ 4747172 h 4998172"/>
                <a:gd name="connsiteX89" fmla="*/ 1701579 w 4570627"/>
                <a:gd name="connsiteY89" fmla="*/ 4621673 h 4998172"/>
                <a:gd name="connsiteX90" fmla="*/ 1576079 w 4570627"/>
                <a:gd name="connsiteY90" fmla="*/ 4574610 h 4998172"/>
                <a:gd name="connsiteX91" fmla="*/ 1419205 w 4570627"/>
                <a:gd name="connsiteY91" fmla="*/ 4574610 h 4998172"/>
                <a:gd name="connsiteX92" fmla="*/ 1340768 w 4570627"/>
                <a:gd name="connsiteY92" fmla="*/ 4668735 h 4998172"/>
                <a:gd name="connsiteX93" fmla="*/ 1309393 w 4570627"/>
                <a:gd name="connsiteY93" fmla="*/ 4825610 h 4998172"/>
                <a:gd name="connsiteX94" fmla="*/ 1246643 w 4570627"/>
                <a:gd name="connsiteY94" fmla="*/ 4919735 h 4998172"/>
                <a:gd name="connsiteX95" fmla="*/ 1152518 w 4570627"/>
                <a:gd name="connsiteY95" fmla="*/ 4998172 h 4998172"/>
                <a:gd name="connsiteX96" fmla="*/ 964268 w 4570627"/>
                <a:gd name="connsiteY96" fmla="*/ 4951110 h 4998172"/>
                <a:gd name="connsiteX97" fmla="*/ 948581 w 4570627"/>
                <a:gd name="connsiteY97" fmla="*/ 4684422 h 4998172"/>
                <a:gd name="connsiteX98" fmla="*/ 807394 w 4570627"/>
                <a:gd name="connsiteY98" fmla="*/ 4590298 h 4998172"/>
                <a:gd name="connsiteX99" fmla="*/ 773692 w 4570627"/>
                <a:gd name="connsiteY99" fmla="*/ 4590298 h 4998172"/>
                <a:gd name="connsiteX100" fmla="*/ 802640 w 4570627"/>
                <a:gd name="connsiteY100" fmla="*/ 4538980 h 4998172"/>
                <a:gd name="connsiteX101" fmla="*/ 894080 w 4570627"/>
                <a:gd name="connsiteY101" fmla="*/ 4439920 h 4998172"/>
                <a:gd name="connsiteX102" fmla="*/ 1122680 w 4570627"/>
                <a:gd name="connsiteY102" fmla="*/ 4470400 h 4998172"/>
                <a:gd name="connsiteX103" fmla="*/ 1168400 w 4570627"/>
                <a:gd name="connsiteY103" fmla="*/ 4401820 h 4998172"/>
                <a:gd name="connsiteX104" fmla="*/ 1122680 w 4570627"/>
                <a:gd name="connsiteY104" fmla="*/ 4272280 h 4998172"/>
                <a:gd name="connsiteX105" fmla="*/ 1160780 w 4570627"/>
                <a:gd name="connsiteY105" fmla="*/ 4218940 h 4998172"/>
                <a:gd name="connsiteX106" fmla="*/ 1130300 w 4570627"/>
                <a:gd name="connsiteY106" fmla="*/ 4127500 h 4998172"/>
                <a:gd name="connsiteX107" fmla="*/ 1160780 w 4570627"/>
                <a:gd name="connsiteY107" fmla="*/ 3807460 h 4998172"/>
                <a:gd name="connsiteX108" fmla="*/ 1038860 w 4570627"/>
                <a:gd name="connsiteY108" fmla="*/ 3395980 h 4998172"/>
                <a:gd name="connsiteX109" fmla="*/ 1130300 w 4570627"/>
                <a:gd name="connsiteY109" fmla="*/ 3235960 h 4998172"/>
                <a:gd name="connsiteX110" fmla="*/ 1183640 w 4570627"/>
                <a:gd name="connsiteY110" fmla="*/ 3274060 h 4998172"/>
                <a:gd name="connsiteX111" fmla="*/ 1336040 w 4570627"/>
                <a:gd name="connsiteY111" fmla="*/ 3175000 h 4998172"/>
                <a:gd name="connsiteX112" fmla="*/ 1351280 w 4570627"/>
                <a:gd name="connsiteY112" fmla="*/ 3045460 h 4998172"/>
                <a:gd name="connsiteX113" fmla="*/ 1290320 w 4570627"/>
                <a:gd name="connsiteY113" fmla="*/ 2969260 h 4998172"/>
                <a:gd name="connsiteX114" fmla="*/ 1290320 w 4570627"/>
                <a:gd name="connsiteY114" fmla="*/ 2923540 h 4998172"/>
                <a:gd name="connsiteX115" fmla="*/ 1366520 w 4570627"/>
                <a:gd name="connsiteY115" fmla="*/ 2923540 h 4998172"/>
                <a:gd name="connsiteX116" fmla="*/ 1389380 w 4570627"/>
                <a:gd name="connsiteY116" fmla="*/ 2969260 h 4998172"/>
                <a:gd name="connsiteX117" fmla="*/ 1518920 w 4570627"/>
                <a:gd name="connsiteY117" fmla="*/ 2938780 h 4998172"/>
                <a:gd name="connsiteX118" fmla="*/ 1503680 w 4570627"/>
                <a:gd name="connsiteY118" fmla="*/ 2847340 h 4998172"/>
                <a:gd name="connsiteX119" fmla="*/ 1450340 w 4570627"/>
                <a:gd name="connsiteY119" fmla="*/ 2786380 h 4998172"/>
                <a:gd name="connsiteX120" fmla="*/ 1488440 w 4570627"/>
                <a:gd name="connsiteY120" fmla="*/ 2573020 h 4998172"/>
                <a:gd name="connsiteX121" fmla="*/ 1389380 w 4570627"/>
                <a:gd name="connsiteY121" fmla="*/ 2420620 h 4998172"/>
                <a:gd name="connsiteX122" fmla="*/ 1297940 w 4570627"/>
                <a:gd name="connsiteY122" fmla="*/ 2405380 h 4998172"/>
                <a:gd name="connsiteX123" fmla="*/ 1244600 w 4570627"/>
                <a:gd name="connsiteY123" fmla="*/ 2306320 h 4998172"/>
                <a:gd name="connsiteX124" fmla="*/ 1282700 w 4570627"/>
                <a:gd name="connsiteY124" fmla="*/ 2252980 h 4998172"/>
                <a:gd name="connsiteX125" fmla="*/ 1183640 w 4570627"/>
                <a:gd name="connsiteY125" fmla="*/ 2146300 h 4998172"/>
                <a:gd name="connsiteX126" fmla="*/ 1168400 w 4570627"/>
                <a:gd name="connsiteY126" fmla="*/ 2047240 h 4998172"/>
                <a:gd name="connsiteX127" fmla="*/ 1183640 w 4570627"/>
                <a:gd name="connsiteY127" fmla="*/ 2016760 h 4998172"/>
                <a:gd name="connsiteX128" fmla="*/ 1153160 w 4570627"/>
                <a:gd name="connsiteY128" fmla="*/ 1887220 h 4998172"/>
                <a:gd name="connsiteX129" fmla="*/ 1176020 w 4570627"/>
                <a:gd name="connsiteY129" fmla="*/ 1871980 h 4998172"/>
                <a:gd name="connsiteX130" fmla="*/ 1145540 w 4570627"/>
                <a:gd name="connsiteY130" fmla="*/ 1658620 h 4998172"/>
                <a:gd name="connsiteX131" fmla="*/ 1099820 w 4570627"/>
                <a:gd name="connsiteY131" fmla="*/ 1620520 h 4998172"/>
                <a:gd name="connsiteX132" fmla="*/ 1076960 w 4570627"/>
                <a:gd name="connsiteY132" fmla="*/ 1643380 h 4998172"/>
                <a:gd name="connsiteX133" fmla="*/ 1069340 w 4570627"/>
                <a:gd name="connsiteY133" fmla="*/ 1711960 h 4998172"/>
                <a:gd name="connsiteX134" fmla="*/ 970280 w 4570627"/>
                <a:gd name="connsiteY134" fmla="*/ 1719580 h 4998172"/>
                <a:gd name="connsiteX135" fmla="*/ 932180 w 4570627"/>
                <a:gd name="connsiteY135" fmla="*/ 1574800 h 4998172"/>
                <a:gd name="connsiteX136" fmla="*/ 871220 w 4570627"/>
                <a:gd name="connsiteY136" fmla="*/ 1620520 h 4998172"/>
                <a:gd name="connsiteX137" fmla="*/ 855980 w 4570627"/>
                <a:gd name="connsiteY137" fmla="*/ 1574800 h 4998172"/>
                <a:gd name="connsiteX138" fmla="*/ 924560 w 4570627"/>
                <a:gd name="connsiteY138" fmla="*/ 1513840 h 4998172"/>
                <a:gd name="connsiteX139" fmla="*/ 855980 w 4570627"/>
                <a:gd name="connsiteY139" fmla="*/ 1384300 h 4998172"/>
                <a:gd name="connsiteX140" fmla="*/ 825500 w 4570627"/>
                <a:gd name="connsiteY140" fmla="*/ 1330960 h 4998172"/>
                <a:gd name="connsiteX141" fmla="*/ 787400 w 4570627"/>
                <a:gd name="connsiteY141" fmla="*/ 1430020 h 4998172"/>
                <a:gd name="connsiteX142" fmla="*/ 772160 w 4570627"/>
                <a:gd name="connsiteY142" fmla="*/ 1369060 h 4998172"/>
                <a:gd name="connsiteX143" fmla="*/ 688340 w 4570627"/>
                <a:gd name="connsiteY143" fmla="*/ 1422400 h 4998172"/>
                <a:gd name="connsiteX144" fmla="*/ 695960 w 4570627"/>
                <a:gd name="connsiteY144" fmla="*/ 1277620 h 4998172"/>
                <a:gd name="connsiteX145" fmla="*/ 497840 w 4570627"/>
                <a:gd name="connsiteY145" fmla="*/ 1262380 h 4998172"/>
                <a:gd name="connsiteX146" fmla="*/ 353060 w 4570627"/>
                <a:gd name="connsiteY146" fmla="*/ 1315720 h 4998172"/>
                <a:gd name="connsiteX147" fmla="*/ 467360 w 4570627"/>
                <a:gd name="connsiteY147" fmla="*/ 1376680 h 4998172"/>
                <a:gd name="connsiteX148" fmla="*/ 474980 w 4570627"/>
                <a:gd name="connsiteY148" fmla="*/ 1452880 h 4998172"/>
                <a:gd name="connsiteX149" fmla="*/ 391160 w 4570627"/>
                <a:gd name="connsiteY149" fmla="*/ 1452880 h 4998172"/>
                <a:gd name="connsiteX150" fmla="*/ 360680 w 4570627"/>
                <a:gd name="connsiteY150" fmla="*/ 1551940 h 4998172"/>
                <a:gd name="connsiteX151" fmla="*/ 132080 w 4570627"/>
                <a:gd name="connsiteY151" fmla="*/ 1567180 h 4998172"/>
                <a:gd name="connsiteX152" fmla="*/ 69850 w 4570627"/>
                <a:gd name="connsiteY152" fmla="*/ 1533991 h 4998172"/>
                <a:gd name="connsiteX153" fmla="*/ 69850 w 4570627"/>
                <a:gd name="connsiteY153" fmla="*/ 1435100 h 4998172"/>
                <a:gd name="connsiteX154" fmla="*/ 146050 w 4570627"/>
                <a:gd name="connsiteY154" fmla="*/ 1295400 h 4998172"/>
                <a:gd name="connsiteX155" fmla="*/ 82550 w 4570627"/>
                <a:gd name="connsiteY155" fmla="*/ 1193800 h 4998172"/>
                <a:gd name="connsiteX156" fmla="*/ 25400 w 4570627"/>
                <a:gd name="connsiteY156" fmla="*/ 1168400 h 4998172"/>
                <a:gd name="connsiteX157" fmla="*/ 31750 w 4570627"/>
                <a:gd name="connsiteY157" fmla="*/ 952500 h 4998172"/>
                <a:gd name="connsiteX158" fmla="*/ 0 w 4570627"/>
                <a:gd name="connsiteY158" fmla="*/ 876300 h 4998172"/>
                <a:gd name="connsiteX159" fmla="*/ 0 w 4570627"/>
                <a:gd name="connsiteY159" fmla="*/ 774700 h 4998172"/>
                <a:gd name="connsiteX160" fmla="*/ 107950 w 4570627"/>
                <a:gd name="connsiteY160" fmla="*/ 755650 h 4998172"/>
                <a:gd name="connsiteX161" fmla="*/ 127000 w 4570627"/>
                <a:gd name="connsiteY161" fmla="*/ 806450 h 4998172"/>
                <a:gd name="connsiteX162" fmla="*/ 215900 w 4570627"/>
                <a:gd name="connsiteY162" fmla="*/ 749300 h 4998172"/>
                <a:gd name="connsiteX163" fmla="*/ 368300 w 4570627"/>
                <a:gd name="connsiteY163" fmla="*/ 749300 h 4998172"/>
                <a:gd name="connsiteX164" fmla="*/ 368300 w 4570627"/>
                <a:gd name="connsiteY164" fmla="*/ 800100 h 4998172"/>
                <a:gd name="connsiteX165" fmla="*/ 495300 w 4570627"/>
                <a:gd name="connsiteY165" fmla="*/ 800100 h 4998172"/>
                <a:gd name="connsiteX166" fmla="*/ 488950 w 4570627"/>
                <a:gd name="connsiteY166" fmla="*/ 711200 h 4998172"/>
                <a:gd name="connsiteX167" fmla="*/ 488950 w 4570627"/>
                <a:gd name="connsiteY167" fmla="*/ 603250 h 4998172"/>
                <a:gd name="connsiteX168" fmla="*/ 596900 w 4570627"/>
                <a:gd name="connsiteY168" fmla="*/ 615950 h 4998172"/>
                <a:gd name="connsiteX169" fmla="*/ 679450 w 4570627"/>
                <a:gd name="connsiteY169" fmla="*/ 514350 h 4998172"/>
                <a:gd name="connsiteX170" fmla="*/ 717550 w 4570627"/>
                <a:gd name="connsiteY170" fmla="*/ 311150 h 4998172"/>
                <a:gd name="connsiteX171" fmla="*/ 812800 w 4570627"/>
                <a:gd name="connsiteY171" fmla="*/ 361950 h 4998172"/>
                <a:gd name="connsiteX172" fmla="*/ 952500 w 4570627"/>
                <a:gd name="connsiteY172" fmla="*/ 266700 h 4998172"/>
                <a:gd name="connsiteX173" fmla="*/ 979517 w 4570627"/>
                <a:gd name="connsiteY173" fmla="*/ 226177 h 4998172"/>
                <a:gd name="connsiteX174" fmla="*/ 977900 w 4570627"/>
                <a:gd name="connsiteY174" fmla="*/ 273050 h 4998172"/>
                <a:gd name="connsiteX175" fmla="*/ 1060450 w 4570627"/>
                <a:gd name="connsiteY175" fmla="*/ 177800 h 4998172"/>
                <a:gd name="connsiteX176" fmla="*/ 812800 w 4570627"/>
                <a:gd name="connsiteY176" fmla="*/ 12701 h 4998172"/>
                <a:gd name="connsiteX177" fmla="*/ 812801 w 4570627"/>
                <a:gd name="connsiteY177" fmla="*/ 12701 h 4998172"/>
                <a:gd name="connsiteX178" fmla="*/ 869950 w 4570627"/>
                <a:gd name="connsiteY178" fmla="*/ 69850 h 4998172"/>
                <a:gd name="connsiteX179" fmla="*/ 920750 w 4570627"/>
                <a:gd name="connsiteY179" fmla="*/ 57150 h 4998172"/>
                <a:gd name="connsiteX180" fmla="*/ 920750 w 4570627"/>
                <a:gd name="connsiteY180" fmla="*/ 57151 h 4998172"/>
                <a:gd name="connsiteX181" fmla="*/ 869950 w 4570627"/>
                <a:gd name="connsiteY181" fmla="*/ 69851 h 4998172"/>
                <a:gd name="connsiteX182" fmla="*/ 812800 w 4570627"/>
                <a:gd name="connsiteY182" fmla="*/ 12701 h 4998172"/>
                <a:gd name="connsiteX183" fmla="*/ 984250 w 4570627"/>
                <a:gd name="connsiteY183" fmla="*/ 0 h 4998172"/>
                <a:gd name="connsiteX184" fmla="*/ 1022350 w 4570627"/>
                <a:gd name="connsiteY184" fmla="*/ 50800 h 4998172"/>
                <a:gd name="connsiteX185" fmla="*/ 1022350 w 4570627"/>
                <a:gd name="connsiteY185" fmla="*/ 50801 h 4998172"/>
                <a:gd name="connsiteX186" fmla="*/ 984250 w 4570627"/>
                <a:gd name="connsiteY186" fmla="*/ 1 h 4998172"/>
                <a:gd name="connsiteX187" fmla="*/ 908051 w 4570627"/>
                <a:gd name="connsiteY187" fmla="*/ 6351 h 4998172"/>
                <a:gd name="connsiteX188" fmla="*/ 908050 w 4570627"/>
                <a:gd name="connsiteY188" fmla="*/ 6350 h 4998172"/>
                <a:gd name="connsiteX189" fmla="*/ 984250 w 4570627"/>
                <a:gd name="connsiteY189" fmla="*/ 0 h 4998172"/>
                <a:gd name="connsiteX0" fmla="*/ 555179 w 4570627"/>
                <a:gd name="connsiteY0" fmla="*/ 4669235 h 4998172"/>
                <a:gd name="connsiteX1" fmla="*/ 555179 w 4570627"/>
                <a:gd name="connsiteY1" fmla="*/ 4669235 h 4998172"/>
                <a:gd name="connsiteX2" fmla="*/ 546724 w 4570627"/>
                <a:gd name="connsiteY2" fmla="*/ 4693835 h 4998172"/>
                <a:gd name="connsiteX3" fmla="*/ 546723 w 4570627"/>
                <a:gd name="connsiteY3" fmla="*/ 4693835 h 4998172"/>
                <a:gd name="connsiteX4" fmla="*/ 555179 w 4570627"/>
                <a:gd name="connsiteY4" fmla="*/ 4669235 h 4998172"/>
                <a:gd name="connsiteX5" fmla="*/ 1060450 w 4570627"/>
                <a:gd name="connsiteY5" fmla="*/ 177800 h 4998172"/>
                <a:gd name="connsiteX6" fmla="*/ 1149350 w 4570627"/>
                <a:gd name="connsiteY6" fmla="*/ 215900 h 4998172"/>
                <a:gd name="connsiteX7" fmla="*/ 1263650 w 4570627"/>
                <a:gd name="connsiteY7" fmla="*/ 292100 h 4998172"/>
                <a:gd name="connsiteX8" fmla="*/ 1320800 w 4570627"/>
                <a:gd name="connsiteY8" fmla="*/ 412750 h 4998172"/>
                <a:gd name="connsiteX9" fmla="*/ 1371600 w 4570627"/>
                <a:gd name="connsiteY9" fmla="*/ 393700 h 4998172"/>
                <a:gd name="connsiteX10" fmla="*/ 1479550 w 4570627"/>
                <a:gd name="connsiteY10" fmla="*/ 501650 h 4998172"/>
                <a:gd name="connsiteX11" fmla="*/ 1530350 w 4570627"/>
                <a:gd name="connsiteY11" fmla="*/ 666750 h 4998172"/>
                <a:gd name="connsiteX12" fmla="*/ 1612900 w 4570627"/>
                <a:gd name="connsiteY12" fmla="*/ 711200 h 4998172"/>
                <a:gd name="connsiteX13" fmla="*/ 1638300 w 4570627"/>
                <a:gd name="connsiteY13" fmla="*/ 641350 h 4998172"/>
                <a:gd name="connsiteX14" fmla="*/ 1739900 w 4570627"/>
                <a:gd name="connsiteY14" fmla="*/ 647700 h 4998172"/>
                <a:gd name="connsiteX15" fmla="*/ 1746250 w 4570627"/>
                <a:gd name="connsiteY15" fmla="*/ 596900 h 4998172"/>
                <a:gd name="connsiteX16" fmla="*/ 1689100 w 4570627"/>
                <a:gd name="connsiteY16" fmla="*/ 565150 h 4998172"/>
                <a:gd name="connsiteX17" fmla="*/ 1638300 w 4570627"/>
                <a:gd name="connsiteY17" fmla="*/ 520700 h 4998172"/>
                <a:gd name="connsiteX18" fmla="*/ 1625600 w 4570627"/>
                <a:gd name="connsiteY18" fmla="*/ 469900 h 4998172"/>
                <a:gd name="connsiteX19" fmla="*/ 1778000 w 4570627"/>
                <a:gd name="connsiteY19" fmla="*/ 412750 h 4998172"/>
                <a:gd name="connsiteX20" fmla="*/ 1879600 w 4570627"/>
                <a:gd name="connsiteY20" fmla="*/ 425450 h 4998172"/>
                <a:gd name="connsiteX21" fmla="*/ 1873250 w 4570627"/>
                <a:gd name="connsiteY21" fmla="*/ 488950 h 4998172"/>
                <a:gd name="connsiteX22" fmla="*/ 1981200 w 4570627"/>
                <a:gd name="connsiteY22" fmla="*/ 482600 h 4998172"/>
                <a:gd name="connsiteX23" fmla="*/ 2006600 w 4570627"/>
                <a:gd name="connsiteY23" fmla="*/ 482600 h 4998172"/>
                <a:gd name="connsiteX24" fmla="*/ 2032000 w 4570627"/>
                <a:gd name="connsiteY24" fmla="*/ 584200 h 4998172"/>
                <a:gd name="connsiteX25" fmla="*/ 2133600 w 4570627"/>
                <a:gd name="connsiteY25" fmla="*/ 596900 h 4998172"/>
                <a:gd name="connsiteX26" fmla="*/ 2171700 w 4570627"/>
                <a:gd name="connsiteY26" fmla="*/ 463550 h 4998172"/>
                <a:gd name="connsiteX27" fmla="*/ 2146300 w 4570627"/>
                <a:gd name="connsiteY27" fmla="*/ 323850 h 4998172"/>
                <a:gd name="connsiteX28" fmla="*/ 2216150 w 4570627"/>
                <a:gd name="connsiteY28" fmla="*/ 241300 h 4998172"/>
                <a:gd name="connsiteX29" fmla="*/ 2279650 w 4570627"/>
                <a:gd name="connsiteY29" fmla="*/ 234950 h 4998172"/>
                <a:gd name="connsiteX30" fmla="*/ 2305050 w 4570627"/>
                <a:gd name="connsiteY30" fmla="*/ 330200 h 4998172"/>
                <a:gd name="connsiteX31" fmla="*/ 2374900 w 4570627"/>
                <a:gd name="connsiteY31" fmla="*/ 393700 h 4998172"/>
                <a:gd name="connsiteX32" fmla="*/ 2381250 w 4570627"/>
                <a:gd name="connsiteY32" fmla="*/ 457200 h 4998172"/>
                <a:gd name="connsiteX33" fmla="*/ 2514600 w 4570627"/>
                <a:gd name="connsiteY33" fmla="*/ 406400 h 4998172"/>
                <a:gd name="connsiteX34" fmla="*/ 2641600 w 4570627"/>
                <a:gd name="connsiteY34" fmla="*/ 381000 h 4998172"/>
                <a:gd name="connsiteX35" fmla="*/ 2686050 w 4570627"/>
                <a:gd name="connsiteY35" fmla="*/ 419100 h 4998172"/>
                <a:gd name="connsiteX36" fmla="*/ 2774950 w 4570627"/>
                <a:gd name="connsiteY36" fmla="*/ 368300 h 4998172"/>
                <a:gd name="connsiteX37" fmla="*/ 2796953 w 4570627"/>
                <a:gd name="connsiteY37" fmla="*/ 370396 h 4998172"/>
                <a:gd name="connsiteX38" fmla="*/ 2787650 w 4570627"/>
                <a:gd name="connsiteY38" fmla="*/ 349252 h 4998172"/>
                <a:gd name="connsiteX39" fmla="*/ 2857500 w 4570627"/>
                <a:gd name="connsiteY39" fmla="*/ 508001 h 4998172"/>
                <a:gd name="connsiteX40" fmla="*/ 2971800 w 4570627"/>
                <a:gd name="connsiteY40" fmla="*/ 533401 h 4998172"/>
                <a:gd name="connsiteX41" fmla="*/ 3054350 w 4570627"/>
                <a:gd name="connsiteY41" fmla="*/ 552451 h 4998172"/>
                <a:gd name="connsiteX42" fmla="*/ 3093057 w 4570627"/>
                <a:gd name="connsiteY42" fmla="*/ 707281 h 4998172"/>
                <a:gd name="connsiteX43" fmla="*/ 3011086 w 4570627"/>
                <a:gd name="connsiteY43" fmla="*/ 588423 h 4998172"/>
                <a:gd name="connsiteX44" fmla="*/ 2924805 w 4570627"/>
                <a:gd name="connsiteY44" fmla="*/ 674704 h 4998172"/>
                <a:gd name="connsiteX45" fmla="*/ 3026774 w 4570627"/>
                <a:gd name="connsiteY45" fmla="*/ 784516 h 4998172"/>
                <a:gd name="connsiteX46" fmla="*/ 3050305 w 4570627"/>
                <a:gd name="connsiteY46" fmla="*/ 957078 h 4998172"/>
                <a:gd name="connsiteX47" fmla="*/ 3348367 w 4570627"/>
                <a:gd name="connsiteY47" fmla="*/ 1129641 h 4998172"/>
                <a:gd name="connsiteX48" fmla="*/ 3411117 w 4570627"/>
                <a:gd name="connsiteY48" fmla="*/ 1239453 h 4998172"/>
                <a:gd name="connsiteX49" fmla="*/ 3262086 w 4570627"/>
                <a:gd name="connsiteY49" fmla="*/ 1419859 h 4998172"/>
                <a:gd name="connsiteX50" fmla="*/ 3395429 w 4570627"/>
                <a:gd name="connsiteY50" fmla="*/ 1663015 h 4998172"/>
                <a:gd name="connsiteX51" fmla="*/ 3489554 w 4570627"/>
                <a:gd name="connsiteY51" fmla="*/ 1945389 h 4998172"/>
                <a:gd name="connsiteX52" fmla="*/ 3638585 w 4570627"/>
                <a:gd name="connsiteY52" fmla="*/ 2110108 h 4998172"/>
                <a:gd name="connsiteX53" fmla="*/ 3756241 w 4570627"/>
                <a:gd name="connsiteY53" fmla="*/ 2015983 h 4998172"/>
                <a:gd name="connsiteX54" fmla="*/ 3905271 w 4570627"/>
                <a:gd name="connsiteY54" fmla="*/ 2259139 h 4998172"/>
                <a:gd name="connsiteX55" fmla="*/ 4007240 w 4570627"/>
                <a:gd name="connsiteY55" fmla="*/ 2376795 h 4998172"/>
                <a:gd name="connsiteX56" fmla="*/ 4124896 w 4570627"/>
                <a:gd name="connsiteY56" fmla="*/ 2376795 h 4998172"/>
                <a:gd name="connsiteX57" fmla="*/ 4328833 w 4570627"/>
                <a:gd name="connsiteY57" fmla="*/ 2659169 h 4998172"/>
                <a:gd name="connsiteX58" fmla="*/ 4446489 w 4570627"/>
                <a:gd name="connsiteY58" fmla="*/ 2643482 h 4998172"/>
                <a:gd name="connsiteX59" fmla="*/ 4564145 w 4570627"/>
                <a:gd name="connsiteY59" fmla="*/ 2768982 h 4998172"/>
                <a:gd name="connsiteX60" fmla="*/ 4570627 w 4570627"/>
                <a:gd name="connsiteY60" fmla="*/ 2778982 h 4998172"/>
                <a:gd name="connsiteX61" fmla="*/ 4493946 w 4570627"/>
                <a:gd name="connsiteY61" fmla="*/ 3147050 h 4998172"/>
                <a:gd name="connsiteX62" fmla="*/ 4274322 w 4570627"/>
                <a:gd name="connsiteY62" fmla="*/ 3162737 h 4998172"/>
                <a:gd name="connsiteX63" fmla="*/ 4180197 w 4570627"/>
                <a:gd name="connsiteY63" fmla="*/ 3492174 h 4998172"/>
                <a:gd name="connsiteX64" fmla="*/ 3819386 w 4570627"/>
                <a:gd name="connsiteY64" fmla="*/ 3617674 h 4998172"/>
                <a:gd name="connsiteX65" fmla="*/ 3552699 w 4570627"/>
                <a:gd name="connsiteY65" fmla="*/ 3774549 h 4998172"/>
                <a:gd name="connsiteX66" fmla="*/ 3552699 w 4570627"/>
                <a:gd name="connsiteY66" fmla="*/ 3884361 h 4998172"/>
                <a:gd name="connsiteX67" fmla="*/ 3788011 w 4570627"/>
                <a:gd name="connsiteY67" fmla="*/ 4088298 h 4998172"/>
                <a:gd name="connsiteX68" fmla="*/ 3772323 w 4570627"/>
                <a:gd name="connsiteY68" fmla="*/ 4307923 h 4998172"/>
                <a:gd name="connsiteX69" fmla="*/ 3866448 w 4570627"/>
                <a:gd name="connsiteY69" fmla="*/ 4417735 h 4998172"/>
                <a:gd name="connsiteX70" fmla="*/ 3897823 w 4570627"/>
                <a:gd name="connsiteY70" fmla="*/ 4653048 h 4998172"/>
                <a:gd name="connsiteX71" fmla="*/ 3819386 w 4570627"/>
                <a:gd name="connsiteY71" fmla="*/ 4762860 h 4998172"/>
                <a:gd name="connsiteX72" fmla="*/ 3662511 w 4570627"/>
                <a:gd name="connsiteY72" fmla="*/ 4684422 h 4998172"/>
                <a:gd name="connsiteX73" fmla="*/ 3615449 w 4570627"/>
                <a:gd name="connsiteY73" fmla="*/ 4605985 h 4998172"/>
                <a:gd name="connsiteX74" fmla="*/ 3615449 w 4570627"/>
                <a:gd name="connsiteY74" fmla="*/ 4464798 h 4998172"/>
                <a:gd name="connsiteX75" fmla="*/ 3458574 w 4570627"/>
                <a:gd name="connsiteY75" fmla="*/ 4402048 h 4998172"/>
                <a:gd name="connsiteX76" fmla="*/ 3395824 w 4570627"/>
                <a:gd name="connsiteY76" fmla="*/ 4527548 h 4998172"/>
                <a:gd name="connsiteX77" fmla="*/ 3160513 w 4570627"/>
                <a:gd name="connsiteY77" fmla="*/ 4449110 h 4998172"/>
                <a:gd name="connsiteX78" fmla="*/ 3144825 w 4570627"/>
                <a:gd name="connsiteY78" fmla="*/ 4386360 h 4998172"/>
                <a:gd name="connsiteX79" fmla="*/ 2940888 w 4570627"/>
                <a:gd name="connsiteY79" fmla="*/ 4464798 h 4998172"/>
                <a:gd name="connsiteX80" fmla="*/ 2831076 w 4570627"/>
                <a:gd name="connsiteY80" fmla="*/ 4574610 h 4998172"/>
                <a:gd name="connsiteX81" fmla="*/ 2564389 w 4570627"/>
                <a:gd name="connsiteY81" fmla="*/ 4605985 h 4998172"/>
                <a:gd name="connsiteX82" fmla="*/ 2329077 w 4570627"/>
                <a:gd name="connsiteY82" fmla="*/ 4621673 h 4998172"/>
                <a:gd name="connsiteX83" fmla="*/ 2125140 w 4570627"/>
                <a:gd name="connsiteY83" fmla="*/ 4809922 h 4998172"/>
                <a:gd name="connsiteX84" fmla="*/ 1936891 w 4570627"/>
                <a:gd name="connsiteY84" fmla="*/ 4856985 h 4998172"/>
                <a:gd name="connsiteX85" fmla="*/ 1717266 w 4570627"/>
                <a:gd name="connsiteY85" fmla="*/ 4747172 h 4998172"/>
                <a:gd name="connsiteX86" fmla="*/ 1701579 w 4570627"/>
                <a:gd name="connsiteY86" fmla="*/ 4621673 h 4998172"/>
                <a:gd name="connsiteX87" fmla="*/ 1576079 w 4570627"/>
                <a:gd name="connsiteY87" fmla="*/ 4574610 h 4998172"/>
                <a:gd name="connsiteX88" fmla="*/ 1419205 w 4570627"/>
                <a:gd name="connsiteY88" fmla="*/ 4574610 h 4998172"/>
                <a:gd name="connsiteX89" fmla="*/ 1340768 w 4570627"/>
                <a:gd name="connsiteY89" fmla="*/ 4668735 h 4998172"/>
                <a:gd name="connsiteX90" fmla="*/ 1309393 w 4570627"/>
                <a:gd name="connsiteY90" fmla="*/ 4825610 h 4998172"/>
                <a:gd name="connsiteX91" fmla="*/ 1246643 w 4570627"/>
                <a:gd name="connsiteY91" fmla="*/ 4919735 h 4998172"/>
                <a:gd name="connsiteX92" fmla="*/ 1152518 w 4570627"/>
                <a:gd name="connsiteY92" fmla="*/ 4998172 h 4998172"/>
                <a:gd name="connsiteX93" fmla="*/ 964268 w 4570627"/>
                <a:gd name="connsiteY93" fmla="*/ 4951110 h 4998172"/>
                <a:gd name="connsiteX94" fmla="*/ 948581 w 4570627"/>
                <a:gd name="connsiteY94" fmla="*/ 4684422 h 4998172"/>
                <a:gd name="connsiteX95" fmla="*/ 807394 w 4570627"/>
                <a:gd name="connsiteY95" fmla="*/ 4590298 h 4998172"/>
                <a:gd name="connsiteX96" fmla="*/ 773692 w 4570627"/>
                <a:gd name="connsiteY96" fmla="*/ 4590298 h 4998172"/>
                <a:gd name="connsiteX97" fmla="*/ 802640 w 4570627"/>
                <a:gd name="connsiteY97" fmla="*/ 4538980 h 4998172"/>
                <a:gd name="connsiteX98" fmla="*/ 894080 w 4570627"/>
                <a:gd name="connsiteY98" fmla="*/ 4439920 h 4998172"/>
                <a:gd name="connsiteX99" fmla="*/ 1122680 w 4570627"/>
                <a:gd name="connsiteY99" fmla="*/ 4470400 h 4998172"/>
                <a:gd name="connsiteX100" fmla="*/ 1168400 w 4570627"/>
                <a:gd name="connsiteY100" fmla="*/ 4401820 h 4998172"/>
                <a:gd name="connsiteX101" fmla="*/ 1122680 w 4570627"/>
                <a:gd name="connsiteY101" fmla="*/ 4272280 h 4998172"/>
                <a:gd name="connsiteX102" fmla="*/ 1160780 w 4570627"/>
                <a:gd name="connsiteY102" fmla="*/ 4218940 h 4998172"/>
                <a:gd name="connsiteX103" fmla="*/ 1130300 w 4570627"/>
                <a:gd name="connsiteY103" fmla="*/ 4127500 h 4998172"/>
                <a:gd name="connsiteX104" fmla="*/ 1160780 w 4570627"/>
                <a:gd name="connsiteY104" fmla="*/ 3807460 h 4998172"/>
                <a:gd name="connsiteX105" fmla="*/ 1038860 w 4570627"/>
                <a:gd name="connsiteY105" fmla="*/ 3395980 h 4998172"/>
                <a:gd name="connsiteX106" fmla="*/ 1130300 w 4570627"/>
                <a:gd name="connsiteY106" fmla="*/ 3235960 h 4998172"/>
                <a:gd name="connsiteX107" fmla="*/ 1183640 w 4570627"/>
                <a:gd name="connsiteY107" fmla="*/ 3274060 h 4998172"/>
                <a:gd name="connsiteX108" fmla="*/ 1336040 w 4570627"/>
                <a:gd name="connsiteY108" fmla="*/ 3175000 h 4998172"/>
                <a:gd name="connsiteX109" fmla="*/ 1351280 w 4570627"/>
                <a:gd name="connsiteY109" fmla="*/ 3045460 h 4998172"/>
                <a:gd name="connsiteX110" fmla="*/ 1290320 w 4570627"/>
                <a:gd name="connsiteY110" fmla="*/ 2969260 h 4998172"/>
                <a:gd name="connsiteX111" fmla="*/ 1290320 w 4570627"/>
                <a:gd name="connsiteY111" fmla="*/ 2923540 h 4998172"/>
                <a:gd name="connsiteX112" fmla="*/ 1366520 w 4570627"/>
                <a:gd name="connsiteY112" fmla="*/ 2923540 h 4998172"/>
                <a:gd name="connsiteX113" fmla="*/ 1389380 w 4570627"/>
                <a:gd name="connsiteY113" fmla="*/ 2969260 h 4998172"/>
                <a:gd name="connsiteX114" fmla="*/ 1518920 w 4570627"/>
                <a:gd name="connsiteY114" fmla="*/ 2938780 h 4998172"/>
                <a:gd name="connsiteX115" fmla="*/ 1503680 w 4570627"/>
                <a:gd name="connsiteY115" fmla="*/ 2847340 h 4998172"/>
                <a:gd name="connsiteX116" fmla="*/ 1450340 w 4570627"/>
                <a:gd name="connsiteY116" fmla="*/ 2786380 h 4998172"/>
                <a:gd name="connsiteX117" fmla="*/ 1488440 w 4570627"/>
                <a:gd name="connsiteY117" fmla="*/ 2573020 h 4998172"/>
                <a:gd name="connsiteX118" fmla="*/ 1389380 w 4570627"/>
                <a:gd name="connsiteY118" fmla="*/ 2420620 h 4998172"/>
                <a:gd name="connsiteX119" fmla="*/ 1297940 w 4570627"/>
                <a:gd name="connsiteY119" fmla="*/ 2405380 h 4998172"/>
                <a:gd name="connsiteX120" fmla="*/ 1244600 w 4570627"/>
                <a:gd name="connsiteY120" fmla="*/ 2306320 h 4998172"/>
                <a:gd name="connsiteX121" fmla="*/ 1282700 w 4570627"/>
                <a:gd name="connsiteY121" fmla="*/ 2252980 h 4998172"/>
                <a:gd name="connsiteX122" fmla="*/ 1183640 w 4570627"/>
                <a:gd name="connsiteY122" fmla="*/ 2146300 h 4998172"/>
                <a:gd name="connsiteX123" fmla="*/ 1168400 w 4570627"/>
                <a:gd name="connsiteY123" fmla="*/ 2047240 h 4998172"/>
                <a:gd name="connsiteX124" fmla="*/ 1183640 w 4570627"/>
                <a:gd name="connsiteY124" fmla="*/ 2016760 h 4998172"/>
                <a:gd name="connsiteX125" fmla="*/ 1153160 w 4570627"/>
                <a:gd name="connsiteY125" fmla="*/ 1887220 h 4998172"/>
                <a:gd name="connsiteX126" fmla="*/ 1176020 w 4570627"/>
                <a:gd name="connsiteY126" fmla="*/ 1871980 h 4998172"/>
                <a:gd name="connsiteX127" fmla="*/ 1145540 w 4570627"/>
                <a:gd name="connsiteY127" fmla="*/ 1658620 h 4998172"/>
                <a:gd name="connsiteX128" fmla="*/ 1099820 w 4570627"/>
                <a:gd name="connsiteY128" fmla="*/ 1620520 h 4998172"/>
                <a:gd name="connsiteX129" fmla="*/ 1076960 w 4570627"/>
                <a:gd name="connsiteY129" fmla="*/ 1643380 h 4998172"/>
                <a:gd name="connsiteX130" fmla="*/ 1069340 w 4570627"/>
                <a:gd name="connsiteY130" fmla="*/ 1711960 h 4998172"/>
                <a:gd name="connsiteX131" fmla="*/ 970280 w 4570627"/>
                <a:gd name="connsiteY131" fmla="*/ 1719580 h 4998172"/>
                <a:gd name="connsiteX132" fmla="*/ 932180 w 4570627"/>
                <a:gd name="connsiteY132" fmla="*/ 1574800 h 4998172"/>
                <a:gd name="connsiteX133" fmla="*/ 871220 w 4570627"/>
                <a:gd name="connsiteY133" fmla="*/ 1620520 h 4998172"/>
                <a:gd name="connsiteX134" fmla="*/ 855980 w 4570627"/>
                <a:gd name="connsiteY134" fmla="*/ 1574800 h 4998172"/>
                <a:gd name="connsiteX135" fmla="*/ 924560 w 4570627"/>
                <a:gd name="connsiteY135" fmla="*/ 1513840 h 4998172"/>
                <a:gd name="connsiteX136" fmla="*/ 855980 w 4570627"/>
                <a:gd name="connsiteY136" fmla="*/ 1384300 h 4998172"/>
                <a:gd name="connsiteX137" fmla="*/ 825500 w 4570627"/>
                <a:gd name="connsiteY137" fmla="*/ 1330960 h 4998172"/>
                <a:gd name="connsiteX138" fmla="*/ 787400 w 4570627"/>
                <a:gd name="connsiteY138" fmla="*/ 1430020 h 4998172"/>
                <a:gd name="connsiteX139" fmla="*/ 772160 w 4570627"/>
                <a:gd name="connsiteY139" fmla="*/ 1369060 h 4998172"/>
                <a:gd name="connsiteX140" fmla="*/ 688340 w 4570627"/>
                <a:gd name="connsiteY140" fmla="*/ 1422400 h 4998172"/>
                <a:gd name="connsiteX141" fmla="*/ 695960 w 4570627"/>
                <a:gd name="connsiteY141" fmla="*/ 1277620 h 4998172"/>
                <a:gd name="connsiteX142" fmla="*/ 497840 w 4570627"/>
                <a:gd name="connsiteY142" fmla="*/ 1262380 h 4998172"/>
                <a:gd name="connsiteX143" fmla="*/ 353060 w 4570627"/>
                <a:gd name="connsiteY143" fmla="*/ 1315720 h 4998172"/>
                <a:gd name="connsiteX144" fmla="*/ 467360 w 4570627"/>
                <a:gd name="connsiteY144" fmla="*/ 1376680 h 4998172"/>
                <a:gd name="connsiteX145" fmla="*/ 474980 w 4570627"/>
                <a:gd name="connsiteY145" fmla="*/ 1452880 h 4998172"/>
                <a:gd name="connsiteX146" fmla="*/ 391160 w 4570627"/>
                <a:gd name="connsiteY146" fmla="*/ 1452880 h 4998172"/>
                <a:gd name="connsiteX147" fmla="*/ 360680 w 4570627"/>
                <a:gd name="connsiteY147" fmla="*/ 1551940 h 4998172"/>
                <a:gd name="connsiteX148" fmla="*/ 132080 w 4570627"/>
                <a:gd name="connsiteY148" fmla="*/ 1567180 h 4998172"/>
                <a:gd name="connsiteX149" fmla="*/ 69850 w 4570627"/>
                <a:gd name="connsiteY149" fmla="*/ 1533991 h 4998172"/>
                <a:gd name="connsiteX150" fmla="*/ 69850 w 4570627"/>
                <a:gd name="connsiteY150" fmla="*/ 1435100 h 4998172"/>
                <a:gd name="connsiteX151" fmla="*/ 146050 w 4570627"/>
                <a:gd name="connsiteY151" fmla="*/ 1295400 h 4998172"/>
                <a:gd name="connsiteX152" fmla="*/ 82550 w 4570627"/>
                <a:gd name="connsiteY152" fmla="*/ 1193800 h 4998172"/>
                <a:gd name="connsiteX153" fmla="*/ 25400 w 4570627"/>
                <a:gd name="connsiteY153" fmla="*/ 1168400 h 4998172"/>
                <a:gd name="connsiteX154" fmla="*/ 31750 w 4570627"/>
                <a:gd name="connsiteY154" fmla="*/ 952500 h 4998172"/>
                <a:gd name="connsiteX155" fmla="*/ 0 w 4570627"/>
                <a:gd name="connsiteY155" fmla="*/ 876300 h 4998172"/>
                <a:gd name="connsiteX156" fmla="*/ 0 w 4570627"/>
                <a:gd name="connsiteY156" fmla="*/ 774700 h 4998172"/>
                <a:gd name="connsiteX157" fmla="*/ 107950 w 4570627"/>
                <a:gd name="connsiteY157" fmla="*/ 755650 h 4998172"/>
                <a:gd name="connsiteX158" fmla="*/ 127000 w 4570627"/>
                <a:gd name="connsiteY158" fmla="*/ 806450 h 4998172"/>
                <a:gd name="connsiteX159" fmla="*/ 215900 w 4570627"/>
                <a:gd name="connsiteY159" fmla="*/ 749300 h 4998172"/>
                <a:gd name="connsiteX160" fmla="*/ 368300 w 4570627"/>
                <a:gd name="connsiteY160" fmla="*/ 749300 h 4998172"/>
                <a:gd name="connsiteX161" fmla="*/ 368300 w 4570627"/>
                <a:gd name="connsiteY161" fmla="*/ 800100 h 4998172"/>
                <a:gd name="connsiteX162" fmla="*/ 495300 w 4570627"/>
                <a:gd name="connsiteY162" fmla="*/ 800100 h 4998172"/>
                <a:gd name="connsiteX163" fmla="*/ 488950 w 4570627"/>
                <a:gd name="connsiteY163" fmla="*/ 711200 h 4998172"/>
                <a:gd name="connsiteX164" fmla="*/ 488950 w 4570627"/>
                <a:gd name="connsiteY164" fmla="*/ 603250 h 4998172"/>
                <a:gd name="connsiteX165" fmla="*/ 596900 w 4570627"/>
                <a:gd name="connsiteY165" fmla="*/ 615950 h 4998172"/>
                <a:gd name="connsiteX166" fmla="*/ 679450 w 4570627"/>
                <a:gd name="connsiteY166" fmla="*/ 514350 h 4998172"/>
                <a:gd name="connsiteX167" fmla="*/ 717550 w 4570627"/>
                <a:gd name="connsiteY167" fmla="*/ 311150 h 4998172"/>
                <a:gd name="connsiteX168" fmla="*/ 812800 w 4570627"/>
                <a:gd name="connsiteY168" fmla="*/ 361950 h 4998172"/>
                <a:gd name="connsiteX169" fmla="*/ 952500 w 4570627"/>
                <a:gd name="connsiteY169" fmla="*/ 266700 h 4998172"/>
                <a:gd name="connsiteX170" fmla="*/ 979517 w 4570627"/>
                <a:gd name="connsiteY170" fmla="*/ 226177 h 4998172"/>
                <a:gd name="connsiteX171" fmla="*/ 977900 w 4570627"/>
                <a:gd name="connsiteY171" fmla="*/ 273050 h 4998172"/>
                <a:gd name="connsiteX172" fmla="*/ 1060450 w 4570627"/>
                <a:gd name="connsiteY172" fmla="*/ 177800 h 4998172"/>
                <a:gd name="connsiteX173" fmla="*/ 812800 w 4570627"/>
                <a:gd name="connsiteY173" fmla="*/ 12701 h 4998172"/>
                <a:gd name="connsiteX174" fmla="*/ 812801 w 4570627"/>
                <a:gd name="connsiteY174" fmla="*/ 12701 h 4998172"/>
                <a:gd name="connsiteX175" fmla="*/ 869950 w 4570627"/>
                <a:gd name="connsiteY175" fmla="*/ 69850 h 4998172"/>
                <a:gd name="connsiteX176" fmla="*/ 920750 w 4570627"/>
                <a:gd name="connsiteY176" fmla="*/ 57150 h 4998172"/>
                <a:gd name="connsiteX177" fmla="*/ 920750 w 4570627"/>
                <a:gd name="connsiteY177" fmla="*/ 57151 h 4998172"/>
                <a:gd name="connsiteX178" fmla="*/ 869950 w 4570627"/>
                <a:gd name="connsiteY178" fmla="*/ 69851 h 4998172"/>
                <a:gd name="connsiteX179" fmla="*/ 812800 w 4570627"/>
                <a:gd name="connsiteY179" fmla="*/ 12701 h 4998172"/>
                <a:gd name="connsiteX180" fmla="*/ 984250 w 4570627"/>
                <a:gd name="connsiteY180" fmla="*/ 0 h 4998172"/>
                <a:gd name="connsiteX181" fmla="*/ 1022350 w 4570627"/>
                <a:gd name="connsiteY181" fmla="*/ 50800 h 4998172"/>
                <a:gd name="connsiteX182" fmla="*/ 1022350 w 4570627"/>
                <a:gd name="connsiteY182" fmla="*/ 50801 h 4998172"/>
                <a:gd name="connsiteX183" fmla="*/ 984250 w 4570627"/>
                <a:gd name="connsiteY183" fmla="*/ 1 h 4998172"/>
                <a:gd name="connsiteX184" fmla="*/ 908051 w 4570627"/>
                <a:gd name="connsiteY184" fmla="*/ 6351 h 4998172"/>
                <a:gd name="connsiteX185" fmla="*/ 908050 w 4570627"/>
                <a:gd name="connsiteY185" fmla="*/ 6350 h 4998172"/>
                <a:gd name="connsiteX186" fmla="*/ 984250 w 4570627"/>
                <a:gd name="connsiteY186" fmla="*/ 0 h 4998172"/>
                <a:gd name="connsiteX0" fmla="*/ 555179 w 4570627"/>
                <a:gd name="connsiteY0" fmla="*/ 4669234 h 4998171"/>
                <a:gd name="connsiteX1" fmla="*/ 555179 w 4570627"/>
                <a:gd name="connsiteY1" fmla="*/ 4669234 h 4998171"/>
                <a:gd name="connsiteX2" fmla="*/ 546724 w 4570627"/>
                <a:gd name="connsiteY2" fmla="*/ 4693834 h 4998171"/>
                <a:gd name="connsiteX3" fmla="*/ 546723 w 4570627"/>
                <a:gd name="connsiteY3" fmla="*/ 4693834 h 4998171"/>
                <a:gd name="connsiteX4" fmla="*/ 555179 w 4570627"/>
                <a:gd name="connsiteY4" fmla="*/ 4669234 h 4998171"/>
                <a:gd name="connsiteX5" fmla="*/ 1060450 w 4570627"/>
                <a:gd name="connsiteY5" fmla="*/ 177799 h 4998171"/>
                <a:gd name="connsiteX6" fmla="*/ 1149350 w 4570627"/>
                <a:gd name="connsiteY6" fmla="*/ 215899 h 4998171"/>
                <a:gd name="connsiteX7" fmla="*/ 1263650 w 4570627"/>
                <a:gd name="connsiteY7" fmla="*/ 292099 h 4998171"/>
                <a:gd name="connsiteX8" fmla="*/ 1320800 w 4570627"/>
                <a:gd name="connsiteY8" fmla="*/ 412749 h 4998171"/>
                <a:gd name="connsiteX9" fmla="*/ 1371600 w 4570627"/>
                <a:gd name="connsiteY9" fmla="*/ 393699 h 4998171"/>
                <a:gd name="connsiteX10" fmla="*/ 1479550 w 4570627"/>
                <a:gd name="connsiteY10" fmla="*/ 501649 h 4998171"/>
                <a:gd name="connsiteX11" fmla="*/ 1530350 w 4570627"/>
                <a:gd name="connsiteY11" fmla="*/ 666749 h 4998171"/>
                <a:gd name="connsiteX12" fmla="*/ 1612900 w 4570627"/>
                <a:gd name="connsiteY12" fmla="*/ 711199 h 4998171"/>
                <a:gd name="connsiteX13" fmla="*/ 1638300 w 4570627"/>
                <a:gd name="connsiteY13" fmla="*/ 641349 h 4998171"/>
                <a:gd name="connsiteX14" fmla="*/ 1739900 w 4570627"/>
                <a:gd name="connsiteY14" fmla="*/ 647699 h 4998171"/>
                <a:gd name="connsiteX15" fmla="*/ 1746250 w 4570627"/>
                <a:gd name="connsiteY15" fmla="*/ 596899 h 4998171"/>
                <a:gd name="connsiteX16" fmla="*/ 1689100 w 4570627"/>
                <a:gd name="connsiteY16" fmla="*/ 565149 h 4998171"/>
                <a:gd name="connsiteX17" fmla="*/ 1638300 w 4570627"/>
                <a:gd name="connsiteY17" fmla="*/ 520699 h 4998171"/>
                <a:gd name="connsiteX18" fmla="*/ 1625600 w 4570627"/>
                <a:gd name="connsiteY18" fmla="*/ 469899 h 4998171"/>
                <a:gd name="connsiteX19" fmla="*/ 1778000 w 4570627"/>
                <a:gd name="connsiteY19" fmla="*/ 412749 h 4998171"/>
                <a:gd name="connsiteX20" fmla="*/ 1879600 w 4570627"/>
                <a:gd name="connsiteY20" fmla="*/ 425449 h 4998171"/>
                <a:gd name="connsiteX21" fmla="*/ 1873250 w 4570627"/>
                <a:gd name="connsiteY21" fmla="*/ 488949 h 4998171"/>
                <a:gd name="connsiteX22" fmla="*/ 1981200 w 4570627"/>
                <a:gd name="connsiteY22" fmla="*/ 482599 h 4998171"/>
                <a:gd name="connsiteX23" fmla="*/ 2006600 w 4570627"/>
                <a:gd name="connsiteY23" fmla="*/ 482599 h 4998171"/>
                <a:gd name="connsiteX24" fmla="*/ 2032000 w 4570627"/>
                <a:gd name="connsiteY24" fmla="*/ 584199 h 4998171"/>
                <a:gd name="connsiteX25" fmla="*/ 2133600 w 4570627"/>
                <a:gd name="connsiteY25" fmla="*/ 596899 h 4998171"/>
                <a:gd name="connsiteX26" fmla="*/ 2171700 w 4570627"/>
                <a:gd name="connsiteY26" fmla="*/ 463549 h 4998171"/>
                <a:gd name="connsiteX27" fmla="*/ 2146300 w 4570627"/>
                <a:gd name="connsiteY27" fmla="*/ 323849 h 4998171"/>
                <a:gd name="connsiteX28" fmla="*/ 2216150 w 4570627"/>
                <a:gd name="connsiteY28" fmla="*/ 241299 h 4998171"/>
                <a:gd name="connsiteX29" fmla="*/ 2279650 w 4570627"/>
                <a:gd name="connsiteY29" fmla="*/ 234949 h 4998171"/>
                <a:gd name="connsiteX30" fmla="*/ 2305050 w 4570627"/>
                <a:gd name="connsiteY30" fmla="*/ 330199 h 4998171"/>
                <a:gd name="connsiteX31" fmla="*/ 2374900 w 4570627"/>
                <a:gd name="connsiteY31" fmla="*/ 393699 h 4998171"/>
                <a:gd name="connsiteX32" fmla="*/ 2381250 w 4570627"/>
                <a:gd name="connsiteY32" fmla="*/ 457199 h 4998171"/>
                <a:gd name="connsiteX33" fmla="*/ 2514600 w 4570627"/>
                <a:gd name="connsiteY33" fmla="*/ 406399 h 4998171"/>
                <a:gd name="connsiteX34" fmla="*/ 2641600 w 4570627"/>
                <a:gd name="connsiteY34" fmla="*/ 380999 h 4998171"/>
                <a:gd name="connsiteX35" fmla="*/ 2686050 w 4570627"/>
                <a:gd name="connsiteY35" fmla="*/ 419099 h 4998171"/>
                <a:gd name="connsiteX36" fmla="*/ 2774950 w 4570627"/>
                <a:gd name="connsiteY36" fmla="*/ 368299 h 4998171"/>
                <a:gd name="connsiteX37" fmla="*/ 2796953 w 4570627"/>
                <a:gd name="connsiteY37" fmla="*/ 370395 h 4998171"/>
                <a:gd name="connsiteX38" fmla="*/ 2787650 w 4570627"/>
                <a:gd name="connsiteY38" fmla="*/ 349251 h 4998171"/>
                <a:gd name="connsiteX39" fmla="*/ 2857500 w 4570627"/>
                <a:gd name="connsiteY39" fmla="*/ 508000 h 4998171"/>
                <a:gd name="connsiteX40" fmla="*/ 2971800 w 4570627"/>
                <a:gd name="connsiteY40" fmla="*/ 533400 h 4998171"/>
                <a:gd name="connsiteX41" fmla="*/ 3054350 w 4570627"/>
                <a:gd name="connsiteY41" fmla="*/ 552450 h 4998171"/>
                <a:gd name="connsiteX42" fmla="*/ 3093057 w 4570627"/>
                <a:gd name="connsiteY42" fmla="*/ 707280 h 4998171"/>
                <a:gd name="connsiteX43" fmla="*/ 3011086 w 4570627"/>
                <a:gd name="connsiteY43" fmla="*/ 588422 h 4998171"/>
                <a:gd name="connsiteX44" fmla="*/ 2924805 w 4570627"/>
                <a:gd name="connsiteY44" fmla="*/ 674703 h 4998171"/>
                <a:gd name="connsiteX45" fmla="*/ 3026774 w 4570627"/>
                <a:gd name="connsiteY45" fmla="*/ 784515 h 4998171"/>
                <a:gd name="connsiteX46" fmla="*/ 3050305 w 4570627"/>
                <a:gd name="connsiteY46" fmla="*/ 957077 h 4998171"/>
                <a:gd name="connsiteX47" fmla="*/ 3348367 w 4570627"/>
                <a:gd name="connsiteY47" fmla="*/ 1129640 h 4998171"/>
                <a:gd name="connsiteX48" fmla="*/ 3411117 w 4570627"/>
                <a:gd name="connsiteY48" fmla="*/ 1239452 h 4998171"/>
                <a:gd name="connsiteX49" fmla="*/ 3262086 w 4570627"/>
                <a:gd name="connsiteY49" fmla="*/ 1419858 h 4998171"/>
                <a:gd name="connsiteX50" fmla="*/ 3395429 w 4570627"/>
                <a:gd name="connsiteY50" fmla="*/ 1663014 h 4998171"/>
                <a:gd name="connsiteX51" fmla="*/ 3489554 w 4570627"/>
                <a:gd name="connsiteY51" fmla="*/ 1945388 h 4998171"/>
                <a:gd name="connsiteX52" fmla="*/ 3638585 w 4570627"/>
                <a:gd name="connsiteY52" fmla="*/ 2110107 h 4998171"/>
                <a:gd name="connsiteX53" fmla="*/ 3756241 w 4570627"/>
                <a:gd name="connsiteY53" fmla="*/ 2015982 h 4998171"/>
                <a:gd name="connsiteX54" fmla="*/ 3905271 w 4570627"/>
                <a:gd name="connsiteY54" fmla="*/ 2259138 h 4998171"/>
                <a:gd name="connsiteX55" fmla="*/ 4007240 w 4570627"/>
                <a:gd name="connsiteY55" fmla="*/ 2376794 h 4998171"/>
                <a:gd name="connsiteX56" fmla="*/ 4124896 w 4570627"/>
                <a:gd name="connsiteY56" fmla="*/ 2376794 h 4998171"/>
                <a:gd name="connsiteX57" fmla="*/ 4328833 w 4570627"/>
                <a:gd name="connsiteY57" fmla="*/ 2659168 h 4998171"/>
                <a:gd name="connsiteX58" fmla="*/ 4446489 w 4570627"/>
                <a:gd name="connsiteY58" fmla="*/ 2643481 h 4998171"/>
                <a:gd name="connsiteX59" fmla="*/ 4564145 w 4570627"/>
                <a:gd name="connsiteY59" fmla="*/ 2768981 h 4998171"/>
                <a:gd name="connsiteX60" fmla="*/ 4570627 w 4570627"/>
                <a:gd name="connsiteY60" fmla="*/ 2778981 h 4998171"/>
                <a:gd name="connsiteX61" fmla="*/ 4493946 w 4570627"/>
                <a:gd name="connsiteY61" fmla="*/ 3147049 h 4998171"/>
                <a:gd name="connsiteX62" fmla="*/ 4274322 w 4570627"/>
                <a:gd name="connsiteY62" fmla="*/ 3162736 h 4998171"/>
                <a:gd name="connsiteX63" fmla="*/ 4180197 w 4570627"/>
                <a:gd name="connsiteY63" fmla="*/ 3492173 h 4998171"/>
                <a:gd name="connsiteX64" fmla="*/ 3819386 w 4570627"/>
                <a:gd name="connsiteY64" fmla="*/ 3617673 h 4998171"/>
                <a:gd name="connsiteX65" fmla="*/ 3552699 w 4570627"/>
                <a:gd name="connsiteY65" fmla="*/ 3774548 h 4998171"/>
                <a:gd name="connsiteX66" fmla="*/ 3552699 w 4570627"/>
                <a:gd name="connsiteY66" fmla="*/ 3884360 h 4998171"/>
                <a:gd name="connsiteX67" fmla="*/ 3788011 w 4570627"/>
                <a:gd name="connsiteY67" fmla="*/ 4088297 h 4998171"/>
                <a:gd name="connsiteX68" fmla="*/ 3772323 w 4570627"/>
                <a:gd name="connsiteY68" fmla="*/ 4307922 h 4998171"/>
                <a:gd name="connsiteX69" fmla="*/ 3866448 w 4570627"/>
                <a:gd name="connsiteY69" fmla="*/ 4417734 h 4998171"/>
                <a:gd name="connsiteX70" fmla="*/ 3897823 w 4570627"/>
                <a:gd name="connsiteY70" fmla="*/ 4653047 h 4998171"/>
                <a:gd name="connsiteX71" fmla="*/ 3819386 w 4570627"/>
                <a:gd name="connsiteY71" fmla="*/ 4762859 h 4998171"/>
                <a:gd name="connsiteX72" fmla="*/ 3662511 w 4570627"/>
                <a:gd name="connsiteY72" fmla="*/ 4684421 h 4998171"/>
                <a:gd name="connsiteX73" fmla="*/ 3615449 w 4570627"/>
                <a:gd name="connsiteY73" fmla="*/ 4605984 h 4998171"/>
                <a:gd name="connsiteX74" fmla="*/ 3615449 w 4570627"/>
                <a:gd name="connsiteY74" fmla="*/ 4464797 h 4998171"/>
                <a:gd name="connsiteX75" fmla="*/ 3458574 w 4570627"/>
                <a:gd name="connsiteY75" fmla="*/ 4402047 h 4998171"/>
                <a:gd name="connsiteX76" fmla="*/ 3395824 w 4570627"/>
                <a:gd name="connsiteY76" fmla="*/ 4527547 h 4998171"/>
                <a:gd name="connsiteX77" fmla="*/ 3160513 w 4570627"/>
                <a:gd name="connsiteY77" fmla="*/ 4449109 h 4998171"/>
                <a:gd name="connsiteX78" fmla="*/ 3144825 w 4570627"/>
                <a:gd name="connsiteY78" fmla="*/ 4386359 h 4998171"/>
                <a:gd name="connsiteX79" fmla="*/ 2940888 w 4570627"/>
                <a:gd name="connsiteY79" fmla="*/ 4464797 h 4998171"/>
                <a:gd name="connsiteX80" fmla="*/ 2831076 w 4570627"/>
                <a:gd name="connsiteY80" fmla="*/ 4574609 h 4998171"/>
                <a:gd name="connsiteX81" fmla="*/ 2564389 w 4570627"/>
                <a:gd name="connsiteY81" fmla="*/ 4605984 h 4998171"/>
                <a:gd name="connsiteX82" fmla="*/ 2329077 w 4570627"/>
                <a:gd name="connsiteY82" fmla="*/ 4621672 h 4998171"/>
                <a:gd name="connsiteX83" fmla="*/ 2125140 w 4570627"/>
                <a:gd name="connsiteY83" fmla="*/ 4809921 h 4998171"/>
                <a:gd name="connsiteX84" fmla="*/ 1936891 w 4570627"/>
                <a:gd name="connsiteY84" fmla="*/ 4856984 h 4998171"/>
                <a:gd name="connsiteX85" fmla="*/ 1717266 w 4570627"/>
                <a:gd name="connsiteY85" fmla="*/ 4747171 h 4998171"/>
                <a:gd name="connsiteX86" fmla="*/ 1701579 w 4570627"/>
                <a:gd name="connsiteY86" fmla="*/ 4621672 h 4998171"/>
                <a:gd name="connsiteX87" fmla="*/ 1576079 w 4570627"/>
                <a:gd name="connsiteY87" fmla="*/ 4574609 h 4998171"/>
                <a:gd name="connsiteX88" fmla="*/ 1419205 w 4570627"/>
                <a:gd name="connsiteY88" fmla="*/ 4574609 h 4998171"/>
                <a:gd name="connsiteX89" fmla="*/ 1340768 w 4570627"/>
                <a:gd name="connsiteY89" fmla="*/ 4668734 h 4998171"/>
                <a:gd name="connsiteX90" fmla="*/ 1309393 w 4570627"/>
                <a:gd name="connsiteY90" fmla="*/ 4825609 h 4998171"/>
                <a:gd name="connsiteX91" fmla="*/ 1246643 w 4570627"/>
                <a:gd name="connsiteY91" fmla="*/ 4919734 h 4998171"/>
                <a:gd name="connsiteX92" fmla="*/ 1152518 w 4570627"/>
                <a:gd name="connsiteY92" fmla="*/ 4998171 h 4998171"/>
                <a:gd name="connsiteX93" fmla="*/ 964268 w 4570627"/>
                <a:gd name="connsiteY93" fmla="*/ 4951109 h 4998171"/>
                <a:gd name="connsiteX94" fmla="*/ 948581 w 4570627"/>
                <a:gd name="connsiteY94" fmla="*/ 4684421 h 4998171"/>
                <a:gd name="connsiteX95" fmla="*/ 807394 w 4570627"/>
                <a:gd name="connsiteY95" fmla="*/ 4590297 h 4998171"/>
                <a:gd name="connsiteX96" fmla="*/ 773692 w 4570627"/>
                <a:gd name="connsiteY96" fmla="*/ 4590297 h 4998171"/>
                <a:gd name="connsiteX97" fmla="*/ 802640 w 4570627"/>
                <a:gd name="connsiteY97" fmla="*/ 4538979 h 4998171"/>
                <a:gd name="connsiteX98" fmla="*/ 894080 w 4570627"/>
                <a:gd name="connsiteY98" fmla="*/ 4439919 h 4998171"/>
                <a:gd name="connsiteX99" fmla="*/ 1122680 w 4570627"/>
                <a:gd name="connsiteY99" fmla="*/ 4470399 h 4998171"/>
                <a:gd name="connsiteX100" fmla="*/ 1168400 w 4570627"/>
                <a:gd name="connsiteY100" fmla="*/ 4401819 h 4998171"/>
                <a:gd name="connsiteX101" fmla="*/ 1122680 w 4570627"/>
                <a:gd name="connsiteY101" fmla="*/ 4272279 h 4998171"/>
                <a:gd name="connsiteX102" fmla="*/ 1160780 w 4570627"/>
                <a:gd name="connsiteY102" fmla="*/ 4218939 h 4998171"/>
                <a:gd name="connsiteX103" fmla="*/ 1130300 w 4570627"/>
                <a:gd name="connsiteY103" fmla="*/ 4127499 h 4998171"/>
                <a:gd name="connsiteX104" fmla="*/ 1160780 w 4570627"/>
                <a:gd name="connsiteY104" fmla="*/ 3807459 h 4998171"/>
                <a:gd name="connsiteX105" fmla="*/ 1038860 w 4570627"/>
                <a:gd name="connsiteY105" fmla="*/ 3395979 h 4998171"/>
                <a:gd name="connsiteX106" fmla="*/ 1130300 w 4570627"/>
                <a:gd name="connsiteY106" fmla="*/ 3235959 h 4998171"/>
                <a:gd name="connsiteX107" fmla="*/ 1183640 w 4570627"/>
                <a:gd name="connsiteY107" fmla="*/ 3274059 h 4998171"/>
                <a:gd name="connsiteX108" fmla="*/ 1336040 w 4570627"/>
                <a:gd name="connsiteY108" fmla="*/ 3174999 h 4998171"/>
                <a:gd name="connsiteX109" fmla="*/ 1351280 w 4570627"/>
                <a:gd name="connsiteY109" fmla="*/ 3045459 h 4998171"/>
                <a:gd name="connsiteX110" fmla="*/ 1290320 w 4570627"/>
                <a:gd name="connsiteY110" fmla="*/ 2969259 h 4998171"/>
                <a:gd name="connsiteX111" fmla="*/ 1290320 w 4570627"/>
                <a:gd name="connsiteY111" fmla="*/ 2923539 h 4998171"/>
                <a:gd name="connsiteX112" fmla="*/ 1366520 w 4570627"/>
                <a:gd name="connsiteY112" fmla="*/ 2923539 h 4998171"/>
                <a:gd name="connsiteX113" fmla="*/ 1389380 w 4570627"/>
                <a:gd name="connsiteY113" fmla="*/ 2969259 h 4998171"/>
                <a:gd name="connsiteX114" fmla="*/ 1518920 w 4570627"/>
                <a:gd name="connsiteY114" fmla="*/ 2938779 h 4998171"/>
                <a:gd name="connsiteX115" fmla="*/ 1503680 w 4570627"/>
                <a:gd name="connsiteY115" fmla="*/ 2847339 h 4998171"/>
                <a:gd name="connsiteX116" fmla="*/ 1450340 w 4570627"/>
                <a:gd name="connsiteY116" fmla="*/ 2786379 h 4998171"/>
                <a:gd name="connsiteX117" fmla="*/ 1488440 w 4570627"/>
                <a:gd name="connsiteY117" fmla="*/ 2573019 h 4998171"/>
                <a:gd name="connsiteX118" fmla="*/ 1389380 w 4570627"/>
                <a:gd name="connsiteY118" fmla="*/ 2420619 h 4998171"/>
                <a:gd name="connsiteX119" fmla="*/ 1297940 w 4570627"/>
                <a:gd name="connsiteY119" fmla="*/ 2405379 h 4998171"/>
                <a:gd name="connsiteX120" fmla="*/ 1244600 w 4570627"/>
                <a:gd name="connsiteY120" fmla="*/ 2306319 h 4998171"/>
                <a:gd name="connsiteX121" fmla="*/ 1282700 w 4570627"/>
                <a:gd name="connsiteY121" fmla="*/ 2252979 h 4998171"/>
                <a:gd name="connsiteX122" fmla="*/ 1183640 w 4570627"/>
                <a:gd name="connsiteY122" fmla="*/ 2146299 h 4998171"/>
                <a:gd name="connsiteX123" fmla="*/ 1168400 w 4570627"/>
                <a:gd name="connsiteY123" fmla="*/ 2047239 h 4998171"/>
                <a:gd name="connsiteX124" fmla="*/ 1183640 w 4570627"/>
                <a:gd name="connsiteY124" fmla="*/ 2016759 h 4998171"/>
                <a:gd name="connsiteX125" fmla="*/ 1153160 w 4570627"/>
                <a:gd name="connsiteY125" fmla="*/ 1887219 h 4998171"/>
                <a:gd name="connsiteX126" fmla="*/ 1176020 w 4570627"/>
                <a:gd name="connsiteY126" fmla="*/ 1871979 h 4998171"/>
                <a:gd name="connsiteX127" fmla="*/ 1145540 w 4570627"/>
                <a:gd name="connsiteY127" fmla="*/ 1658619 h 4998171"/>
                <a:gd name="connsiteX128" fmla="*/ 1099820 w 4570627"/>
                <a:gd name="connsiteY128" fmla="*/ 1620519 h 4998171"/>
                <a:gd name="connsiteX129" fmla="*/ 1076960 w 4570627"/>
                <a:gd name="connsiteY129" fmla="*/ 1643379 h 4998171"/>
                <a:gd name="connsiteX130" fmla="*/ 1069340 w 4570627"/>
                <a:gd name="connsiteY130" fmla="*/ 1711959 h 4998171"/>
                <a:gd name="connsiteX131" fmla="*/ 970280 w 4570627"/>
                <a:gd name="connsiteY131" fmla="*/ 1719579 h 4998171"/>
                <a:gd name="connsiteX132" fmla="*/ 932180 w 4570627"/>
                <a:gd name="connsiteY132" fmla="*/ 1574799 h 4998171"/>
                <a:gd name="connsiteX133" fmla="*/ 871220 w 4570627"/>
                <a:gd name="connsiteY133" fmla="*/ 1620519 h 4998171"/>
                <a:gd name="connsiteX134" fmla="*/ 855980 w 4570627"/>
                <a:gd name="connsiteY134" fmla="*/ 1574799 h 4998171"/>
                <a:gd name="connsiteX135" fmla="*/ 924560 w 4570627"/>
                <a:gd name="connsiteY135" fmla="*/ 1513839 h 4998171"/>
                <a:gd name="connsiteX136" fmla="*/ 855980 w 4570627"/>
                <a:gd name="connsiteY136" fmla="*/ 1384299 h 4998171"/>
                <a:gd name="connsiteX137" fmla="*/ 825500 w 4570627"/>
                <a:gd name="connsiteY137" fmla="*/ 1330959 h 4998171"/>
                <a:gd name="connsiteX138" fmla="*/ 787400 w 4570627"/>
                <a:gd name="connsiteY138" fmla="*/ 1430019 h 4998171"/>
                <a:gd name="connsiteX139" fmla="*/ 772160 w 4570627"/>
                <a:gd name="connsiteY139" fmla="*/ 1369059 h 4998171"/>
                <a:gd name="connsiteX140" fmla="*/ 688340 w 4570627"/>
                <a:gd name="connsiteY140" fmla="*/ 1422399 h 4998171"/>
                <a:gd name="connsiteX141" fmla="*/ 695960 w 4570627"/>
                <a:gd name="connsiteY141" fmla="*/ 1277619 h 4998171"/>
                <a:gd name="connsiteX142" fmla="*/ 497840 w 4570627"/>
                <a:gd name="connsiteY142" fmla="*/ 1262379 h 4998171"/>
                <a:gd name="connsiteX143" fmla="*/ 353060 w 4570627"/>
                <a:gd name="connsiteY143" fmla="*/ 1315719 h 4998171"/>
                <a:gd name="connsiteX144" fmla="*/ 467360 w 4570627"/>
                <a:gd name="connsiteY144" fmla="*/ 1376679 h 4998171"/>
                <a:gd name="connsiteX145" fmla="*/ 474980 w 4570627"/>
                <a:gd name="connsiteY145" fmla="*/ 1452879 h 4998171"/>
                <a:gd name="connsiteX146" fmla="*/ 391160 w 4570627"/>
                <a:gd name="connsiteY146" fmla="*/ 1452879 h 4998171"/>
                <a:gd name="connsiteX147" fmla="*/ 360680 w 4570627"/>
                <a:gd name="connsiteY147" fmla="*/ 1551939 h 4998171"/>
                <a:gd name="connsiteX148" fmla="*/ 132080 w 4570627"/>
                <a:gd name="connsiteY148" fmla="*/ 1567179 h 4998171"/>
                <a:gd name="connsiteX149" fmla="*/ 69850 w 4570627"/>
                <a:gd name="connsiteY149" fmla="*/ 1533990 h 4998171"/>
                <a:gd name="connsiteX150" fmla="*/ 69850 w 4570627"/>
                <a:gd name="connsiteY150" fmla="*/ 1435099 h 4998171"/>
                <a:gd name="connsiteX151" fmla="*/ 146050 w 4570627"/>
                <a:gd name="connsiteY151" fmla="*/ 1295399 h 4998171"/>
                <a:gd name="connsiteX152" fmla="*/ 82550 w 4570627"/>
                <a:gd name="connsiteY152" fmla="*/ 1193799 h 4998171"/>
                <a:gd name="connsiteX153" fmla="*/ 25400 w 4570627"/>
                <a:gd name="connsiteY153" fmla="*/ 1168399 h 4998171"/>
                <a:gd name="connsiteX154" fmla="*/ 31750 w 4570627"/>
                <a:gd name="connsiteY154" fmla="*/ 952499 h 4998171"/>
                <a:gd name="connsiteX155" fmla="*/ 0 w 4570627"/>
                <a:gd name="connsiteY155" fmla="*/ 876299 h 4998171"/>
                <a:gd name="connsiteX156" fmla="*/ 0 w 4570627"/>
                <a:gd name="connsiteY156" fmla="*/ 774699 h 4998171"/>
                <a:gd name="connsiteX157" fmla="*/ 107950 w 4570627"/>
                <a:gd name="connsiteY157" fmla="*/ 755649 h 4998171"/>
                <a:gd name="connsiteX158" fmla="*/ 127000 w 4570627"/>
                <a:gd name="connsiteY158" fmla="*/ 806449 h 4998171"/>
                <a:gd name="connsiteX159" fmla="*/ 215900 w 4570627"/>
                <a:gd name="connsiteY159" fmla="*/ 749299 h 4998171"/>
                <a:gd name="connsiteX160" fmla="*/ 368300 w 4570627"/>
                <a:gd name="connsiteY160" fmla="*/ 749299 h 4998171"/>
                <a:gd name="connsiteX161" fmla="*/ 368300 w 4570627"/>
                <a:gd name="connsiteY161" fmla="*/ 800099 h 4998171"/>
                <a:gd name="connsiteX162" fmla="*/ 495300 w 4570627"/>
                <a:gd name="connsiteY162" fmla="*/ 800099 h 4998171"/>
                <a:gd name="connsiteX163" fmla="*/ 488950 w 4570627"/>
                <a:gd name="connsiteY163" fmla="*/ 711199 h 4998171"/>
                <a:gd name="connsiteX164" fmla="*/ 488950 w 4570627"/>
                <a:gd name="connsiteY164" fmla="*/ 603249 h 4998171"/>
                <a:gd name="connsiteX165" fmla="*/ 596900 w 4570627"/>
                <a:gd name="connsiteY165" fmla="*/ 615949 h 4998171"/>
                <a:gd name="connsiteX166" fmla="*/ 679450 w 4570627"/>
                <a:gd name="connsiteY166" fmla="*/ 514349 h 4998171"/>
                <a:gd name="connsiteX167" fmla="*/ 717550 w 4570627"/>
                <a:gd name="connsiteY167" fmla="*/ 311149 h 4998171"/>
                <a:gd name="connsiteX168" fmla="*/ 812800 w 4570627"/>
                <a:gd name="connsiteY168" fmla="*/ 361949 h 4998171"/>
                <a:gd name="connsiteX169" fmla="*/ 952500 w 4570627"/>
                <a:gd name="connsiteY169" fmla="*/ 266699 h 4998171"/>
                <a:gd name="connsiteX170" fmla="*/ 979517 w 4570627"/>
                <a:gd name="connsiteY170" fmla="*/ 226176 h 4998171"/>
                <a:gd name="connsiteX171" fmla="*/ 977900 w 4570627"/>
                <a:gd name="connsiteY171" fmla="*/ 273049 h 4998171"/>
                <a:gd name="connsiteX172" fmla="*/ 1060450 w 4570627"/>
                <a:gd name="connsiteY172" fmla="*/ 177799 h 4998171"/>
                <a:gd name="connsiteX173" fmla="*/ 812800 w 4570627"/>
                <a:gd name="connsiteY173" fmla="*/ 12700 h 4998171"/>
                <a:gd name="connsiteX174" fmla="*/ 812801 w 4570627"/>
                <a:gd name="connsiteY174" fmla="*/ 12700 h 4998171"/>
                <a:gd name="connsiteX175" fmla="*/ 869950 w 4570627"/>
                <a:gd name="connsiteY175" fmla="*/ 69849 h 4998171"/>
                <a:gd name="connsiteX176" fmla="*/ 920750 w 4570627"/>
                <a:gd name="connsiteY176" fmla="*/ 57149 h 4998171"/>
                <a:gd name="connsiteX177" fmla="*/ 920750 w 4570627"/>
                <a:gd name="connsiteY177" fmla="*/ 57150 h 4998171"/>
                <a:gd name="connsiteX178" fmla="*/ 869950 w 4570627"/>
                <a:gd name="connsiteY178" fmla="*/ 69850 h 4998171"/>
                <a:gd name="connsiteX179" fmla="*/ 812800 w 4570627"/>
                <a:gd name="connsiteY179" fmla="*/ 12700 h 4998171"/>
                <a:gd name="connsiteX180" fmla="*/ 908050 w 4570627"/>
                <a:gd name="connsiteY180" fmla="*/ 6349 h 4998171"/>
                <a:gd name="connsiteX181" fmla="*/ 1022350 w 4570627"/>
                <a:gd name="connsiteY181" fmla="*/ 50799 h 4998171"/>
                <a:gd name="connsiteX182" fmla="*/ 1022350 w 4570627"/>
                <a:gd name="connsiteY182" fmla="*/ 50800 h 4998171"/>
                <a:gd name="connsiteX183" fmla="*/ 984250 w 4570627"/>
                <a:gd name="connsiteY183" fmla="*/ 0 h 4998171"/>
                <a:gd name="connsiteX184" fmla="*/ 908051 w 4570627"/>
                <a:gd name="connsiteY184" fmla="*/ 6350 h 4998171"/>
                <a:gd name="connsiteX185" fmla="*/ 908050 w 4570627"/>
                <a:gd name="connsiteY185" fmla="*/ 6349 h 4998171"/>
                <a:gd name="connsiteX0" fmla="*/ 555179 w 4570627"/>
                <a:gd name="connsiteY0" fmla="*/ 4669234 h 4998171"/>
                <a:gd name="connsiteX1" fmla="*/ 555179 w 4570627"/>
                <a:gd name="connsiteY1" fmla="*/ 4669234 h 4998171"/>
                <a:gd name="connsiteX2" fmla="*/ 546724 w 4570627"/>
                <a:gd name="connsiteY2" fmla="*/ 4693834 h 4998171"/>
                <a:gd name="connsiteX3" fmla="*/ 546723 w 4570627"/>
                <a:gd name="connsiteY3" fmla="*/ 4693834 h 4998171"/>
                <a:gd name="connsiteX4" fmla="*/ 555179 w 4570627"/>
                <a:gd name="connsiteY4" fmla="*/ 4669234 h 4998171"/>
                <a:gd name="connsiteX5" fmla="*/ 1060450 w 4570627"/>
                <a:gd name="connsiteY5" fmla="*/ 177799 h 4998171"/>
                <a:gd name="connsiteX6" fmla="*/ 1149350 w 4570627"/>
                <a:gd name="connsiteY6" fmla="*/ 215899 h 4998171"/>
                <a:gd name="connsiteX7" fmla="*/ 1263650 w 4570627"/>
                <a:gd name="connsiteY7" fmla="*/ 292099 h 4998171"/>
                <a:gd name="connsiteX8" fmla="*/ 1320800 w 4570627"/>
                <a:gd name="connsiteY8" fmla="*/ 412749 h 4998171"/>
                <a:gd name="connsiteX9" fmla="*/ 1371600 w 4570627"/>
                <a:gd name="connsiteY9" fmla="*/ 393699 h 4998171"/>
                <a:gd name="connsiteX10" fmla="*/ 1479550 w 4570627"/>
                <a:gd name="connsiteY10" fmla="*/ 501649 h 4998171"/>
                <a:gd name="connsiteX11" fmla="*/ 1530350 w 4570627"/>
                <a:gd name="connsiteY11" fmla="*/ 666749 h 4998171"/>
                <a:gd name="connsiteX12" fmla="*/ 1612900 w 4570627"/>
                <a:gd name="connsiteY12" fmla="*/ 711199 h 4998171"/>
                <a:gd name="connsiteX13" fmla="*/ 1638300 w 4570627"/>
                <a:gd name="connsiteY13" fmla="*/ 641349 h 4998171"/>
                <a:gd name="connsiteX14" fmla="*/ 1739900 w 4570627"/>
                <a:gd name="connsiteY14" fmla="*/ 647699 h 4998171"/>
                <a:gd name="connsiteX15" fmla="*/ 1746250 w 4570627"/>
                <a:gd name="connsiteY15" fmla="*/ 596899 h 4998171"/>
                <a:gd name="connsiteX16" fmla="*/ 1689100 w 4570627"/>
                <a:gd name="connsiteY16" fmla="*/ 565149 h 4998171"/>
                <a:gd name="connsiteX17" fmla="*/ 1638300 w 4570627"/>
                <a:gd name="connsiteY17" fmla="*/ 520699 h 4998171"/>
                <a:gd name="connsiteX18" fmla="*/ 1625600 w 4570627"/>
                <a:gd name="connsiteY18" fmla="*/ 469899 h 4998171"/>
                <a:gd name="connsiteX19" fmla="*/ 1778000 w 4570627"/>
                <a:gd name="connsiteY19" fmla="*/ 412749 h 4998171"/>
                <a:gd name="connsiteX20" fmla="*/ 1879600 w 4570627"/>
                <a:gd name="connsiteY20" fmla="*/ 425449 h 4998171"/>
                <a:gd name="connsiteX21" fmla="*/ 1873250 w 4570627"/>
                <a:gd name="connsiteY21" fmla="*/ 488949 h 4998171"/>
                <a:gd name="connsiteX22" fmla="*/ 1981200 w 4570627"/>
                <a:gd name="connsiteY22" fmla="*/ 482599 h 4998171"/>
                <a:gd name="connsiteX23" fmla="*/ 2006600 w 4570627"/>
                <a:gd name="connsiteY23" fmla="*/ 482599 h 4998171"/>
                <a:gd name="connsiteX24" fmla="*/ 2032000 w 4570627"/>
                <a:gd name="connsiteY24" fmla="*/ 584199 h 4998171"/>
                <a:gd name="connsiteX25" fmla="*/ 2133600 w 4570627"/>
                <a:gd name="connsiteY25" fmla="*/ 596899 h 4998171"/>
                <a:gd name="connsiteX26" fmla="*/ 2171700 w 4570627"/>
                <a:gd name="connsiteY26" fmla="*/ 463549 h 4998171"/>
                <a:gd name="connsiteX27" fmla="*/ 2146300 w 4570627"/>
                <a:gd name="connsiteY27" fmla="*/ 323849 h 4998171"/>
                <a:gd name="connsiteX28" fmla="*/ 2216150 w 4570627"/>
                <a:gd name="connsiteY28" fmla="*/ 241299 h 4998171"/>
                <a:gd name="connsiteX29" fmla="*/ 2279650 w 4570627"/>
                <a:gd name="connsiteY29" fmla="*/ 234949 h 4998171"/>
                <a:gd name="connsiteX30" fmla="*/ 2305050 w 4570627"/>
                <a:gd name="connsiteY30" fmla="*/ 330199 h 4998171"/>
                <a:gd name="connsiteX31" fmla="*/ 2374900 w 4570627"/>
                <a:gd name="connsiteY31" fmla="*/ 393699 h 4998171"/>
                <a:gd name="connsiteX32" fmla="*/ 2381250 w 4570627"/>
                <a:gd name="connsiteY32" fmla="*/ 457199 h 4998171"/>
                <a:gd name="connsiteX33" fmla="*/ 2514600 w 4570627"/>
                <a:gd name="connsiteY33" fmla="*/ 406399 h 4998171"/>
                <a:gd name="connsiteX34" fmla="*/ 2641600 w 4570627"/>
                <a:gd name="connsiteY34" fmla="*/ 380999 h 4998171"/>
                <a:gd name="connsiteX35" fmla="*/ 2686050 w 4570627"/>
                <a:gd name="connsiteY35" fmla="*/ 419099 h 4998171"/>
                <a:gd name="connsiteX36" fmla="*/ 2774950 w 4570627"/>
                <a:gd name="connsiteY36" fmla="*/ 368299 h 4998171"/>
                <a:gd name="connsiteX37" fmla="*/ 2796953 w 4570627"/>
                <a:gd name="connsiteY37" fmla="*/ 370395 h 4998171"/>
                <a:gd name="connsiteX38" fmla="*/ 2787650 w 4570627"/>
                <a:gd name="connsiteY38" fmla="*/ 349251 h 4998171"/>
                <a:gd name="connsiteX39" fmla="*/ 2857500 w 4570627"/>
                <a:gd name="connsiteY39" fmla="*/ 508000 h 4998171"/>
                <a:gd name="connsiteX40" fmla="*/ 2971800 w 4570627"/>
                <a:gd name="connsiteY40" fmla="*/ 533400 h 4998171"/>
                <a:gd name="connsiteX41" fmla="*/ 3054350 w 4570627"/>
                <a:gd name="connsiteY41" fmla="*/ 552450 h 4998171"/>
                <a:gd name="connsiteX42" fmla="*/ 3093057 w 4570627"/>
                <a:gd name="connsiteY42" fmla="*/ 707280 h 4998171"/>
                <a:gd name="connsiteX43" fmla="*/ 3011086 w 4570627"/>
                <a:gd name="connsiteY43" fmla="*/ 588422 h 4998171"/>
                <a:gd name="connsiteX44" fmla="*/ 2924805 w 4570627"/>
                <a:gd name="connsiteY44" fmla="*/ 674703 h 4998171"/>
                <a:gd name="connsiteX45" fmla="*/ 3026774 w 4570627"/>
                <a:gd name="connsiteY45" fmla="*/ 784515 h 4998171"/>
                <a:gd name="connsiteX46" fmla="*/ 3050305 w 4570627"/>
                <a:gd name="connsiteY46" fmla="*/ 957077 h 4998171"/>
                <a:gd name="connsiteX47" fmla="*/ 3348367 w 4570627"/>
                <a:gd name="connsiteY47" fmla="*/ 1129640 h 4998171"/>
                <a:gd name="connsiteX48" fmla="*/ 3411117 w 4570627"/>
                <a:gd name="connsiteY48" fmla="*/ 1239452 h 4998171"/>
                <a:gd name="connsiteX49" fmla="*/ 3262086 w 4570627"/>
                <a:gd name="connsiteY49" fmla="*/ 1419858 h 4998171"/>
                <a:gd name="connsiteX50" fmla="*/ 3395429 w 4570627"/>
                <a:gd name="connsiteY50" fmla="*/ 1663014 h 4998171"/>
                <a:gd name="connsiteX51" fmla="*/ 3489554 w 4570627"/>
                <a:gd name="connsiteY51" fmla="*/ 1945388 h 4998171"/>
                <a:gd name="connsiteX52" fmla="*/ 3638585 w 4570627"/>
                <a:gd name="connsiteY52" fmla="*/ 2110107 h 4998171"/>
                <a:gd name="connsiteX53" fmla="*/ 3756241 w 4570627"/>
                <a:gd name="connsiteY53" fmla="*/ 2015982 h 4998171"/>
                <a:gd name="connsiteX54" fmla="*/ 3905271 w 4570627"/>
                <a:gd name="connsiteY54" fmla="*/ 2259138 h 4998171"/>
                <a:gd name="connsiteX55" fmla="*/ 4007240 w 4570627"/>
                <a:gd name="connsiteY55" fmla="*/ 2376794 h 4998171"/>
                <a:gd name="connsiteX56" fmla="*/ 4124896 w 4570627"/>
                <a:gd name="connsiteY56" fmla="*/ 2376794 h 4998171"/>
                <a:gd name="connsiteX57" fmla="*/ 4328833 w 4570627"/>
                <a:gd name="connsiteY57" fmla="*/ 2659168 h 4998171"/>
                <a:gd name="connsiteX58" fmla="*/ 4446489 w 4570627"/>
                <a:gd name="connsiteY58" fmla="*/ 2643481 h 4998171"/>
                <a:gd name="connsiteX59" fmla="*/ 4564145 w 4570627"/>
                <a:gd name="connsiteY59" fmla="*/ 2768981 h 4998171"/>
                <a:gd name="connsiteX60" fmla="*/ 4570627 w 4570627"/>
                <a:gd name="connsiteY60" fmla="*/ 2778981 h 4998171"/>
                <a:gd name="connsiteX61" fmla="*/ 4493946 w 4570627"/>
                <a:gd name="connsiteY61" fmla="*/ 3147049 h 4998171"/>
                <a:gd name="connsiteX62" fmla="*/ 4274322 w 4570627"/>
                <a:gd name="connsiteY62" fmla="*/ 3162736 h 4998171"/>
                <a:gd name="connsiteX63" fmla="*/ 4180197 w 4570627"/>
                <a:gd name="connsiteY63" fmla="*/ 3492173 h 4998171"/>
                <a:gd name="connsiteX64" fmla="*/ 3819386 w 4570627"/>
                <a:gd name="connsiteY64" fmla="*/ 3617673 h 4998171"/>
                <a:gd name="connsiteX65" fmla="*/ 3552699 w 4570627"/>
                <a:gd name="connsiteY65" fmla="*/ 3774548 h 4998171"/>
                <a:gd name="connsiteX66" fmla="*/ 3552699 w 4570627"/>
                <a:gd name="connsiteY66" fmla="*/ 3884360 h 4998171"/>
                <a:gd name="connsiteX67" fmla="*/ 3788011 w 4570627"/>
                <a:gd name="connsiteY67" fmla="*/ 4088297 h 4998171"/>
                <a:gd name="connsiteX68" fmla="*/ 3772323 w 4570627"/>
                <a:gd name="connsiteY68" fmla="*/ 4307922 h 4998171"/>
                <a:gd name="connsiteX69" fmla="*/ 3866448 w 4570627"/>
                <a:gd name="connsiteY69" fmla="*/ 4417734 h 4998171"/>
                <a:gd name="connsiteX70" fmla="*/ 3897823 w 4570627"/>
                <a:gd name="connsiteY70" fmla="*/ 4653047 h 4998171"/>
                <a:gd name="connsiteX71" fmla="*/ 3819386 w 4570627"/>
                <a:gd name="connsiteY71" fmla="*/ 4762859 h 4998171"/>
                <a:gd name="connsiteX72" fmla="*/ 3662511 w 4570627"/>
                <a:gd name="connsiteY72" fmla="*/ 4684421 h 4998171"/>
                <a:gd name="connsiteX73" fmla="*/ 3615449 w 4570627"/>
                <a:gd name="connsiteY73" fmla="*/ 4605984 h 4998171"/>
                <a:gd name="connsiteX74" fmla="*/ 3615449 w 4570627"/>
                <a:gd name="connsiteY74" fmla="*/ 4464797 h 4998171"/>
                <a:gd name="connsiteX75" fmla="*/ 3458574 w 4570627"/>
                <a:gd name="connsiteY75" fmla="*/ 4402047 h 4998171"/>
                <a:gd name="connsiteX76" fmla="*/ 3395824 w 4570627"/>
                <a:gd name="connsiteY76" fmla="*/ 4527547 h 4998171"/>
                <a:gd name="connsiteX77" fmla="*/ 3160513 w 4570627"/>
                <a:gd name="connsiteY77" fmla="*/ 4449109 h 4998171"/>
                <a:gd name="connsiteX78" fmla="*/ 3144825 w 4570627"/>
                <a:gd name="connsiteY78" fmla="*/ 4386359 h 4998171"/>
                <a:gd name="connsiteX79" fmla="*/ 2940888 w 4570627"/>
                <a:gd name="connsiteY79" fmla="*/ 4464797 h 4998171"/>
                <a:gd name="connsiteX80" fmla="*/ 2831076 w 4570627"/>
                <a:gd name="connsiteY80" fmla="*/ 4574609 h 4998171"/>
                <a:gd name="connsiteX81" fmla="*/ 2564389 w 4570627"/>
                <a:gd name="connsiteY81" fmla="*/ 4605984 h 4998171"/>
                <a:gd name="connsiteX82" fmla="*/ 2329077 w 4570627"/>
                <a:gd name="connsiteY82" fmla="*/ 4621672 h 4998171"/>
                <a:gd name="connsiteX83" fmla="*/ 2125140 w 4570627"/>
                <a:gd name="connsiteY83" fmla="*/ 4809921 h 4998171"/>
                <a:gd name="connsiteX84" fmla="*/ 1936891 w 4570627"/>
                <a:gd name="connsiteY84" fmla="*/ 4856984 h 4998171"/>
                <a:gd name="connsiteX85" fmla="*/ 1717266 w 4570627"/>
                <a:gd name="connsiteY85" fmla="*/ 4747171 h 4998171"/>
                <a:gd name="connsiteX86" fmla="*/ 1701579 w 4570627"/>
                <a:gd name="connsiteY86" fmla="*/ 4621672 h 4998171"/>
                <a:gd name="connsiteX87" fmla="*/ 1576079 w 4570627"/>
                <a:gd name="connsiteY87" fmla="*/ 4574609 h 4998171"/>
                <a:gd name="connsiteX88" fmla="*/ 1419205 w 4570627"/>
                <a:gd name="connsiteY88" fmla="*/ 4574609 h 4998171"/>
                <a:gd name="connsiteX89" fmla="*/ 1340768 w 4570627"/>
                <a:gd name="connsiteY89" fmla="*/ 4668734 h 4998171"/>
                <a:gd name="connsiteX90" fmla="*/ 1309393 w 4570627"/>
                <a:gd name="connsiteY90" fmla="*/ 4825609 h 4998171"/>
                <a:gd name="connsiteX91" fmla="*/ 1246643 w 4570627"/>
                <a:gd name="connsiteY91" fmla="*/ 4919734 h 4998171"/>
                <a:gd name="connsiteX92" fmla="*/ 1152518 w 4570627"/>
                <a:gd name="connsiteY92" fmla="*/ 4998171 h 4998171"/>
                <a:gd name="connsiteX93" fmla="*/ 964268 w 4570627"/>
                <a:gd name="connsiteY93" fmla="*/ 4951109 h 4998171"/>
                <a:gd name="connsiteX94" fmla="*/ 948581 w 4570627"/>
                <a:gd name="connsiteY94" fmla="*/ 4684421 h 4998171"/>
                <a:gd name="connsiteX95" fmla="*/ 807394 w 4570627"/>
                <a:gd name="connsiteY95" fmla="*/ 4590297 h 4998171"/>
                <a:gd name="connsiteX96" fmla="*/ 773692 w 4570627"/>
                <a:gd name="connsiteY96" fmla="*/ 4590297 h 4998171"/>
                <a:gd name="connsiteX97" fmla="*/ 802640 w 4570627"/>
                <a:gd name="connsiteY97" fmla="*/ 4538979 h 4998171"/>
                <a:gd name="connsiteX98" fmla="*/ 894080 w 4570627"/>
                <a:gd name="connsiteY98" fmla="*/ 4439919 h 4998171"/>
                <a:gd name="connsiteX99" fmla="*/ 1122680 w 4570627"/>
                <a:gd name="connsiteY99" fmla="*/ 4470399 h 4998171"/>
                <a:gd name="connsiteX100" fmla="*/ 1168400 w 4570627"/>
                <a:gd name="connsiteY100" fmla="*/ 4401819 h 4998171"/>
                <a:gd name="connsiteX101" fmla="*/ 1122680 w 4570627"/>
                <a:gd name="connsiteY101" fmla="*/ 4272279 h 4998171"/>
                <a:gd name="connsiteX102" fmla="*/ 1160780 w 4570627"/>
                <a:gd name="connsiteY102" fmla="*/ 4218939 h 4998171"/>
                <a:gd name="connsiteX103" fmla="*/ 1130300 w 4570627"/>
                <a:gd name="connsiteY103" fmla="*/ 4127499 h 4998171"/>
                <a:gd name="connsiteX104" fmla="*/ 1160780 w 4570627"/>
                <a:gd name="connsiteY104" fmla="*/ 3807459 h 4998171"/>
                <a:gd name="connsiteX105" fmla="*/ 1038860 w 4570627"/>
                <a:gd name="connsiteY105" fmla="*/ 3395979 h 4998171"/>
                <a:gd name="connsiteX106" fmla="*/ 1130300 w 4570627"/>
                <a:gd name="connsiteY106" fmla="*/ 3235959 h 4998171"/>
                <a:gd name="connsiteX107" fmla="*/ 1183640 w 4570627"/>
                <a:gd name="connsiteY107" fmla="*/ 3274059 h 4998171"/>
                <a:gd name="connsiteX108" fmla="*/ 1336040 w 4570627"/>
                <a:gd name="connsiteY108" fmla="*/ 3174999 h 4998171"/>
                <a:gd name="connsiteX109" fmla="*/ 1351280 w 4570627"/>
                <a:gd name="connsiteY109" fmla="*/ 3045459 h 4998171"/>
                <a:gd name="connsiteX110" fmla="*/ 1290320 w 4570627"/>
                <a:gd name="connsiteY110" fmla="*/ 2969259 h 4998171"/>
                <a:gd name="connsiteX111" fmla="*/ 1290320 w 4570627"/>
                <a:gd name="connsiteY111" fmla="*/ 2923539 h 4998171"/>
                <a:gd name="connsiteX112" fmla="*/ 1366520 w 4570627"/>
                <a:gd name="connsiteY112" fmla="*/ 2923539 h 4998171"/>
                <a:gd name="connsiteX113" fmla="*/ 1389380 w 4570627"/>
                <a:gd name="connsiteY113" fmla="*/ 2969259 h 4998171"/>
                <a:gd name="connsiteX114" fmla="*/ 1518920 w 4570627"/>
                <a:gd name="connsiteY114" fmla="*/ 2938779 h 4998171"/>
                <a:gd name="connsiteX115" fmla="*/ 1503680 w 4570627"/>
                <a:gd name="connsiteY115" fmla="*/ 2847339 h 4998171"/>
                <a:gd name="connsiteX116" fmla="*/ 1450340 w 4570627"/>
                <a:gd name="connsiteY116" fmla="*/ 2786379 h 4998171"/>
                <a:gd name="connsiteX117" fmla="*/ 1488440 w 4570627"/>
                <a:gd name="connsiteY117" fmla="*/ 2573019 h 4998171"/>
                <a:gd name="connsiteX118" fmla="*/ 1389380 w 4570627"/>
                <a:gd name="connsiteY118" fmla="*/ 2420619 h 4998171"/>
                <a:gd name="connsiteX119" fmla="*/ 1297940 w 4570627"/>
                <a:gd name="connsiteY119" fmla="*/ 2405379 h 4998171"/>
                <a:gd name="connsiteX120" fmla="*/ 1244600 w 4570627"/>
                <a:gd name="connsiteY120" fmla="*/ 2306319 h 4998171"/>
                <a:gd name="connsiteX121" fmla="*/ 1282700 w 4570627"/>
                <a:gd name="connsiteY121" fmla="*/ 2252979 h 4998171"/>
                <a:gd name="connsiteX122" fmla="*/ 1183640 w 4570627"/>
                <a:gd name="connsiteY122" fmla="*/ 2146299 h 4998171"/>
                <a:gd name="connsiteX123" fmla="*/ 1168400 w 4570627"/>
                <a:gd name="connsiteY123" fmla="*/ 2047239 h 4998171"/>
                <a:gd name="connsiteX124" fmla="*/ 1183640 w 4570627"/>
                <a:gd name="connsiteY124" fmla="*/ 2016759 h 4998171"/>
                <a:gd name="connsiteX125" fmla="*/ 1153160 w 4570627"/>
                <a:gd name="connsiteY125" fmla="*/ 1887219 h 4998171"/>
                <a:gd name="connsiteX126" fmla="*/ 1176020 w 4570627"/>
                <a:gd name="connsiteY126" fmla="*/ 1871979 h 4998171"/>
                <a:gd name="connsiteX127" fmla="*/ 1145540 w 4570627"/>
                <a:gd name="connsiteY127" fmla="*/ 1658619 h 4998171"/>
                <a:gd name="connsiteX128" fmla="*/ 1099820 w 4570627"/>
                <a:gd name="connsiteY128" fmla="*/ 1620519 h 4998171"/>
                <a:gd name="connsiteX129" fmla="*/ 1076960 w 4570627"/>
                <a:gd name="connsiteY129" fmla="*/ 1643379 h 4998171"/>
                <a:gd name="connsiteX130" fmla="*/ 1069340 w 4570627"/>
                <a:gd name="connsiteY130" fmla="*/ 1711959 h 4998171"/>
                <a:gd name="connsiteX131" fmla="*/ 970280 w 4570627"/>
                <a:gd name="connsiteY131" fmla="*/ 1719579 h 4998171"/>
                <a:gd name="connsiteX132" fmla="*/ 932180 w 4570627"/>
                <a:gd name="connsiteY132" fmla="*/ 1574799 h 4998171"/>
                <a:gd name="connsiteX133" fmla="*/ 871220 w 4570627"/>
                <a:gd name="connsiteY133" fmla="*/ 1620519 h 4998171"/>
                <a:gd name="connsiteX134" fmla="*/ 855980 w 4570627"/>
                <a:gd name="connsiteY134" fmla="*/ 1574799 h 4998171"/>
                <a:gd name="connsiteX135" fmla="*/ 924560 w 4570627"/>
                <a:gd name="connsiteY135" fmla="*/ 1513839 h 4998171"/>
                <a:gd name="connsiteX136" fmla="*/ 855980 w 4570627"/>
                <a:gd name="connsiteY136" fmla="*/ 1384299 h 4998171"/>
                <a:gd name="connsiteX137" fmla="*/ 825500 w 4570627"/>
                <a:gd name="connsiteY137" fmla="*/ 1330959 h 4998171"/>
                <a:gd name="connsiteX138" fmla="*/ 787400 w 4570627"/>
                <a:gd name="connsiteY138" fmla="*/ 1430019 h 4998171"/>
                <a:gd name="connsiteX139" fmla="*/ 772160 w 4570627"/>
                <a:gd name="connsiteY139" fmla="*/ 1369059 h 4998171"/>
                <a:gd name="connsiteX140" fmla="*/ 688340 w 4570627"/>
                <a:gd name="connsiteY140" fmla="*/ 1422399 h 4998171"/>
                <a:gd name="connsiteX141" fmla="*/ 695960 w 4570627"/>
                <a:gd name="connsiteY141" fmla="*/ 1277619 h 4998171"/>
                <a:gd name="connsiteX142" fmla="*/ 497840 w 4570627"/>
                <a:gd name="connsiteY142" fmla="*/ 1262379 h 4998171"/>
                <a:gd name="connsiteX143" fmla="*/ 353060 w 4570627"/>
                <a:gd name="connsiteY143" fmla="*/ 1315719 h 4998171"/>
                <a:gd name="connsiteX144" fmla="*/ 467360 w 4570627"/>
                <a:gd name="connsiteY144" fmla="*/ 1376679 h 4998171"/>
                <a:gd name="connsiteX145" fmla="*/ 474980 w 4570627"/>
                <a:gd name="connsiteY145" fmla="*/ 1452879 h 4998171"/>
                <a:gd name="connsiteX146" fmla="*/ 391160 w 4570627"/>
                <a:gd name="connsiteY146" fmla="*/ 1452879 h 4998171"/>
                <a:gd name="connsiteX147" fmla="*/ 360680 w 4570627"/>
                <a:gd name="connsiteY147" fmla="*/ 1551939 h 4998171"/>
                <a:gd name="connsiteX148" fmla="*/ 132080 w 4570627"/>
                <a:gd name="connsiteY148" fmla="*/ 1567179 h 4998171"/>
                <a:gd name="connsiteX149" fmla="*/ 69850 w 4570627"/>
                <a:gd name="connsiteY149" fmla="*/ 1533990 h 4998171"/>
                <a:gd name="connsiteX150" fmla="*/ 69850 w 4570627"/>
                <a:gd name="connsiteY150" fmla="*/ 1435099 h 4998171"/>
                <a:gd name="connsiteX151" fmla="*/ 146050 w 4570627"/>
                <a:gd name="connsiteY151" fmla="*/ 1295399 h 4998171"/>
                <a:gd name="connsiteX152" fmla="*/ 82550 w 4570627"/>
                <a:gd name="connsiteY152" fmla="*/ 1193799 h 4998171"/>
                <a:gd name="connsiteX153" fmla="*/ 25400 w 4570627"/>
                <a:gd name="connsiteY153" fmla="*/ 1168399 h 4998171"/>
                <a:gd name="connsiteX154" fmla="*/ 31750 w 4570627"/>
                <a:gd name="connsiteY154" fmla="*/ 952499 h 4998171"/>
                <a:gd name="connsiteX155" fmla="*/ 0 w 4570627"/>
                <a:gd name="connsiteY155" fmla="*/ 876299 h 4998171"/>
                <a:gd name="connsiteX156" fmla="*/ 0 w 4570627"/>
                <a:gd name="connsiteY156" fmla="*/ 774699 h 4998171"/>
                <a:gd name="connsiteX157" fmla="*/ 107950 w 4570627"/>
                <a:gd name="connsiteY157" fmla="*/ 755649 h 4998171"/>
                <a:gd name="connsiteX158" fmla="*/ 127000 w 4570627"/>
                <a:gd name="connsiteY158" fmla="*/ 806449 h 4998171"/>
                <a:gd name="connsiteX159" fmla="*/ 215900 w 4570627"/>
                <a:gd name="connsiteY159" fmla="*/ 749299 h 4998171"/>
                <a:gd name="connsiteX160" fmla="*/ 368300 w 4570627"/>
                <a:gd name="connsiteY160" fmla="*/ 749299 h 4998171"/>
                <a:gd name="connsiteX161" fmla="*/ 368300 w 4570627"/>
                <a:gd name="connsiteY161" fmla="*/ 800099 h 4998171"/>
                <a:gd name="connsiteX162" fmla="*/ 495300 w 4570627"/>
                <a:gd name="connsiteY162" fmla="*/ 800099 h 4998171"/>
                <a:gd name="connsiteX163" fmla="*/ 488950 w 4570627"/>
                <a:gd name="connsiteY163" fmla="*/ 711199 h 4998171"/>
                <a:gd name="connsiteX164" fmla="*/ 488950 w 4570627"/>
                <a:gd name="connsiteY164" fmla="*/ 603249 h 4998171"/>
                <a:gd name="connsiteX165" fmla="*/ 596900 w 4570627"/>
                <a:gd name="connsiteY165" fmla="*/ 615949 h 4998171"/>
                <a:gd name="connsiteX166" fmla="*/ 679450 w 4570627"/>
                <a:gd name="connsiteY166" fmla="*/ 514349 h 4998171"/>
                <a:gd name="connsiteX167" fmla="*/ 717550 w 4570627"/>
                <a:gd name="connsiteY167" fmla="*/ 311149 h 4998171"/>
                <a:gd name="connsiteX168" fmla="*/ 812800 w 4570627"/>
                <a:gd name="connsiteY168" fmla="*/ 361949 h 4998171"/>
                <a:gd name="connsiteX169" fmla="*/ 952500 w 4570627"/>
                <a:gd name="connsiteY169" fmla="*/ 266699 h 4998171"/>
                <a:gd name="connsiteX170" fmla="*/ 979517 w 4570627"/>
                <a:gd name="connsiteY170" fmla="*/ 226176 h 4998171"/>
                <a:gd name="connsiteX171" fmla="*/ 977900 w 4570627"/>
                <a:gd name="connsiteY171" fmla="*/ 273049 h 4998171"/>
                <a:gd name="connsiteX172" fmla="*/ 1060450 w 4570627"/>
                <a:gd name="connsiteY172" fmla="*/ 177799 h 4998171"/>
                <a:gd name="connsiteX173" fmla="*/ 812800 w 4570627"/>
                <a:gd name="connsiteY173" fmla="*/ 12700 h 4998171"/>
                <a:gd name="connsiteX174" fmla="*/ 812801 w 4570627"/>
                <a:gd name="connsiteY174" fmla="*/ 12700 h 4998171"/>
                <a:gd name="connsiteX175" fmla="*/ 869950 w 4570627"/>
                <a:gd name="connsiteY175" fmla="*/ 69849 h 4998171"/>
                <a:gd name="connsiteX176" fmla="*/ 920750 w 4570627"/>
                <a:gd name="connsiteY176" fmla="*/ 57149 h 4998171"/>
                <a:gd name="connsiteX177" fmla="*/ 920750 w 4570627"/>
                <a:gd name="connsiteY177" fmla="*/ 57150 h 4998171"/>
                <a:gd name="connsiteX178" fmla="*/ 869950 w 4570627"/>
                <a:gd name="connsiteY178" fmla="*/ 69850 h 4998171"/>
                <a:gd name="connsiteX179" fmla="*/ 812800 w 4570627"/>
                <a:gd name="connsiteY179" fmla="*/ 12700 h 4998171"/>
                <a:gd name="connsiteX180" fmla="*/ 908051 w 4570627"/>
                <a:gd name="connsiteY180" fmla="*/ 6350 h 4998171"/>
                <a:gd name="connsiteX181" fmla="*/ 1022350 w 4570627"/>
                <a:gd name="connsiteY181" fmla="*/ 50799 h 4998171"/>
                <a:gd name="connsiteX182" fmla="*/ 1022350 w 4570627"/>
                <a:gd name="connsiteY182" fmla="*/ 50800 h 4998171"/>
                <a:gd name="connsiteX183" fmla="*/ 984250 w 4570627"/>
                <a:gd name="connsiteY183" fmla="*/ 0 h 4998171"/>
                <a:gd name="connsiteX184" fmla="*/ 908051 w 4570627"/>
                <a:gd name="connsiteY184" fmla="*/ 6350 h 4998171"/>
                <a:gd name="connsiteX0" fmla="*/ 555179 w 4570627"/>
                <a:gd name="connsiteY0" fmla="*/ 4669234 h 4998171"/>
                <a:gd name="connsiteX1" fmla="*/ 555179 w 4570627"/>
                <a:gd name="connsiteY1" fmla="*/ 4669234 h 4998171"/>
                <a:gd name="connsiteX2" fmla="*/ 546724 w 4570627"/>
                <a:gd name="connsiteY2" fmla="*/ 4693834 h 4998171"/>
                <a:gd name="connsiteX3" fmla="*/ 546723 w 4570627"/>
                <a:gd name="connsiteY3" fmla="*/ 4693834 h 4998171"/>
                <a:gd name="connsiteX4" fmla="*/ 555179 w 4570627"/>
                <a:gd name="connsiteY4" fmla="*/ 4669234 h 4998171"/>
                <a:gd name="connsiteX5" fmla="*/ 1060450 w 4570627"/>
                <a:gd name="connsiteY5" fmla="*/ 177799 h 4998171"/>
                <a:gd name="connsiteX6" fmla="*/ 1149350 w 4570627"/>
                <a:gd name="connsiteY6" fmla="*/ 215899 h 4998171"/>
                <a:gd name="connsiteX7" fmla="*/ 1263650 w 4570627"/>
                <a:gd name="connsiteY7" fmla="*/ 292099 h 4998171"/>
                <a:gd name="connsiteX8" fmla="*/ 1320800 w 4570627"/>
                <a:gd name="connsiteY8" fmla="*/ 412749 h 4998171"/>
                <a:gd name="connsiteX9" fmla="*/ 1371600 w 4570627"/>
                <a:gd name="connsiteY9" fmla="*/ 393699 h 4998171"/>
                <a:gd name="connsiteX10" fmla="*/ 1479550 w 4570627"/>
                <a:gd name="connsiteY10" fmla="*/ 501649 h 4998171"/>
                <a:gd name="connsiteX11" fmla="*/ 1530350 w 4570627"/>
                <a:gd name="connsiteY11" fmla="*/ 666749 h 4998171"/>
                <a:gd name="connsiteX12" fmla="*/ 1612900 w 4570627"/>
                <a:gd name="connsiteY12" fmla="*/ 711199 h 4998171"/>
                <a:gd name="connsiteX13" fmla="*/ 1638300 w 4570627"/>
                <a:gd name="connsiteY13" fmla="*/ 641349 h 4998171"/>
                <a:gd name="connsiteX14" fmla="*/ 1739900 w 4570627"/>
                <a:gd name="connsiteY14" fmla="*/ 647699 h 4998171"/>
                <a:gd name="connsiteX15" fmla="*/ 1746250 w 4570627"/>
                <a:gd name="connsiteY15" fmla="*/ 596899 h 4998171"/>
                <a:gd name="connsiteX16" fmla="*/ 1689100 w 4570627"/>
                <a:gd name="connsiteY16" fmla="*/ 565149 h 4998171"/>
                <a:gd name="connsiteX17" fmla="*/ 1638300 w 4570627"/>
                <a:gd name="connsiteY17" fmla="*/ 520699 h 4998171"/>
                <a:gd name="connsiteX18" fmla="*/ 1625600 w 4570627"/>
                <a:gd name="connsiteY18" fmla="*/ 469899 h 4998171"/>
                <a:gd name="connsiteX19" fmla="*/ 1778000 w 4570627"/>
                <a:gd name="connsiteY19" fmla="*/ 412749 h 4998171"/>
                <a:gd name="connsiteX20" fmla="*/ 1879600 w 4570627"/>
                <a:gd name="connsiteY20" fmla="*/ 425449 h 4998171"/>
                <a:gd name="connsiteX21" fmla="*/ 1873250 w 4570627"/>
                <a:gd name="connsiteY21" fmla="*/ 488949 h 4998171"/>
                <a:gd name="connsiteX22" fmla="*/ 1981200 w 4570627"/>
                <a:gd name="connsiteY22" fmla="*/ 482599 h 4998171"/>
                <a:gd name="connsiteX23" fmla="*/ 2006600 w 4570627"/>
                <a:gd name="connsiteY23" fmla="*/ 482599 h 4998171"/>
                <a:gd name="connsiteX24" fmla="*/ 2032000 w 4570627"/>
                <a:gd name="connsiteY24" fmla="*/ 584199 h 4998171"/>
                <a:gd name="connsiteX25" fmla="*/ 2133600 w 4570627"/>
                <a:gd name="connsiteY25" fmla="*/ 596899 h 4998171"/>
                <a:gd name="connsiteX26" fmla="*/ 2171700 w 4570627"/>
                <a:gd name="connsiteY26" fmla="*/ 463549 h 4998171"/>
                <a:gd name="connsiteX27" fmla="*/ 2146300 w 4570627"/>
                <a:gd name="connsiteY27" fmla="*/ 323849 h 4998171"/>
                <a:gd name="connsiteX28" fmla="*/ 2216150 w 4570627"/>
                <a:gd name="connsiteY28" fmla="*/ 241299 h 4998171"/>
                <a:gd name="connsiteX29" fmla="*/ 2279650 w 4570627"/>
                <a:gd name="connsiteY29" fmla="*/ 234949 h 4998171"/>
                <a:gd name="connsiteX30" fmla="*/ 2305050 w 4570627"/>
                <a:gd name="connsiteY30" fmla="*/ 330199 h 4998171"/>
                <a:gd name="connsiteX31" fmla="*/ 2374900 w 4570627"/>
                <a:gd name="connsiteY31" fmla="*/ 393699 h 4998171"/>
                <a:gd name="connsiteX32" fmla="*/ 2381250 w 4570627"/>
                <a:gd name="connsiteY32" fmla="*/ 457199 h 4998171"/>
                <a:gd name="connsiteX33" fmla="*/ 2514600 w 4570627"/>
                <a:gd name="connsiteY33" fmla="*/ 406399 h 4998171"/>
                <a:gd name="connsiteX34" fmla="*/ 2641600 w 4570627"/>
                <a:gd name="connsiteY34" fmla="*/ 380999 h 4998171"/>
                <a:gd name="connsiteX35" fmla="*/ 2686050 w 4570627"/>
                <a:gd name="connsiteY35" fmla="*/ 419099 h 4998171"/>
                <a:gd name="connsiteX36" fmla="*/ 2774950 w 4570627"/>
                <a:gd name="connsiteY36" fmla="*/ 368299 h 4998171"/>
                <a:gd name="connsiteX37" fmla="*/ 2796953 w 4570627"/>
                <a:gd name="connsiteY37" fmla="*/ 370395 h 4998171"/>
                <a:gd name="connsiteX38" fmla="*/ 2787650 w 4570627"/>
                <a:gd name="connsiteY38" fmla="*/ 349251 h 4998171"/>
                <a:gd name="connsiteX39" fmla="*/ 2857500 w 4570627"/>
                <a:gd name="connsiteY39" fmla="*/ 508000 h 4998171"/>
                <a:gd name="connsiteX40" fmla="*/ 2971800 w 4570627"/>
                <a:gd name="connsiteY40" fmla="*/ 533400 h 4998171"/>
                <a:gd name="connsiteX41" fmla="*/ 3054350 w 4570627"/>
                <a:gd name="connsiteY41" fmla="*/ 552450 h 4998171"/>
                <a:gd name="connsiteX42" fmla="*/ 3093057 w 4570627"/>
                <a:gd name="connsiteY42" fmla="*/ 707280 h 4998171"/>
                <a:gd name="connsiteX43" fmla="*/ 3011086 w 4570627"/>
                <a:gd name="connsiteY43" fmla="*/ 588422 h 4998171"/>
                <a:gd name="connsiteX44" fmla="*/ 2924805 w 4570627"/>
                <a:gd name="connsiteY44" fmla="*/ 674703 h 4998171"/>
                <a:gd name="connsiteX45" fmla="*/ 3026774 w 4570627"/>
                <a:gd name="connsiteY45" fmla="*/ 784515 h 4998171"/>
                <a:gd name="connsiteX46" fmla="*/ 3050305 w 4570627"/>
                <a:gd name="connsiteY46" fmla="*/ 957077 h 4998171"/>
                <a:gd name="connsiteX47" fmla="*/ 3348367 w 4570627"/>
                <a:gd name="connsiteY47" fmla="*/ 1129640 h 4998171"/>
                <a:gd name="connsiteX48" fmla="*/ 3411117 w 4570627"/>
                <a:gd name="connsiteY48" fmla="*/ 1239452 h 4998171"/>
                <a:gd name="connsiteX49" fmla="*/ 3262086 w 4570627"/>
                <a:gd name="connsiteY49" fmla="*/ 1419858 h 4998171"/>
                <a:gd name="connsiteX50" fmla="*/ 3395429 w 4570627"/>
                <a:gd name="connsiteY50" fmla="*/ 1663014 h 4998171"/>
                <a:gd name="connsiteX51" fmla="*/ 3489554 w 4570627"/>
                <a:gd name="connsiteY51" fmla="*/ 1945388 h 4998171"/>
                <a:gd name="connsiteX52" fmla="*/ 3638585 w 4570627"/>
                <a:gd name="connsiteY52" fmla="*/ 2110107 h 4998171"/>
                <a:gd name="connsiteX53" fmla="*/ 3756241 w 4570627"/>
                <a:gd name="connsiteY53" fmla="*/ 2015982 h 4998171"/>
                <a:gd name="connsiteX54" fmla="*/ 3905271 w 4570627"/>
                <a:gd name="connsiteY54" fmla="*/ 2259138 h 4998171"/>
                <a:gd name="connsiteX55" fmla="*/ 4007240 w 4570627"/>
                <a:gd name="connsiteY55" fmla="*/ 2376794 h 4998171"/>
                <a:gd name="connsiteX56" fmla="*/ 4124896 w 4570627"/>
                <a:gd name="connsiteY56" fmla="*/ 2376794 h 4998171"/>
                <a:gd name="connsiteX57" fmla="*/ 4328833 w 4570627"/>
                <a:gd name="connsiteY57" fmla="*/ 2659168 h 4998171"/>
                <a:gd name="connsiteX58" fmla="*/ 4446489 w 4570627"/>
                <a:gd name="connsiteY58" fmla="*/ 2643481 h 4998171"/>
                <a:gd name="connsiteX59" fmla="*/ 4564145 w 4570627"/>
                <a:gd name="connsiteY59" fmla="*/ 2768981 h 4998171"/>
                <a:gd name="connsiteX60" fmla="*/ 4570627 w 4570627"/>
                <a:gd name="connsiteY60" fmla="*/ 2778981 h 4998171"/>
                <a:gd name="connsiteX61" fmla="*/ 4493946 w 4570627"/>
                <a:gd name="connsiteY61" fmla="*/ 3147049 h 4998171"/>
                <a:gd name="connsiteX62" fmla="*/ 4274322 w 4570627"/>
                <a:gd name="connsiteY62" fmla="*/ 3162736 h 4998171"/>
                <a:gd name="connsiteX63" fmla="*/ 4180197 w 4570627"/>
                <a:gd name="connsiteY63" fmla="*/ 3492173 h 4998171"/>
                <a:gd name="connsiteX64" fmla="*/ 3819386 w 4570627"/>
                <a:gd name="connsiteY64" fmla="*/ 3617673 h 4998171"/>
                <a:gd name="connsiteX65" fmla="*/ 3552699 w 4570627"/>
                <a:gd name="connsiteY65" fmla="*/ 3774548 h 4998171"/>
                <a:gd name="connsiteX66" fmla="*/ 3552699 w 4570627"/>
                <a:gd name="connsiteY66" fmla="*/ 3884360 h 4998171"/>
                <a:gd name="connsiteX67" fmla="*/ 3788011 w 4570627"/>
                <a:gd name="connsiteY67" fmla="*/ 4088297 h 4998171"/>
                <a:gd name="connsiteX68" fmla="*/ 3772323 w 4570627"/>
                <a:gd name="connsiteY68" fmla="*/ 4307922 h 4998171"/>
                <a:gd name="connsiteX69" fmla="*/ 3866448 w 4570627"/>
                <a:gd name="connsiteY69" fmla="*/ 4417734 h 4998171"/>
                <a:gd name="connsiteX70" fmla="*/ 3897823 w 4570627"/>
                <a:gd name="connsiteY70" fmla="*/ 4653047 h 4998171"/>
                <a:gd name="connsiteX71" fmla="*/ 3819386 w 4570627"/>
                <a:gd name="connsiteY71" fmla="*/ 4762859 h 4998171"/>
                <a:gd name="connsiteX72" fmla="*/ 3662511 w 4570627"/>
                <a:gd name="connsiteY72" fmla="*/ 4684421 h 4998171"/>
                <a:gd name="connsiteX73" fmla="*/ 3615449 w 4570627"/>
                <a:gd name="connsiteY73" fmla="*/ 4605984 h 4998171"/>
                <a:gd name="connsiteX74" fmla="*/ 3615449 w 4570627"/>
                <a:gd name="connsiteY74" fmla="*/ 4464797 h 4998171"/>
                <a:gd name="connsiteX75" fmla="*/ 3458574 w 4570627"/>
                <a:gd name="connsiteY75" fmla="*/ 4402047 h 4998171"/>
                <a:gd name="connsiteX76" fmla="*/ 3395824 w 4570627"/>
                <a:gd name="connsiteY76" fmla="*/ 4527547 h 4998171"/>
                <a:gd name="connsiteX77" fmla="*/ 3160513 w 4570627"/>
                <a:gd name="connsiteY77" fmla="*/ 4449109 h 4998171"/>
                <a:gd name="connsiteX78" fmla="*/ 3144825 w 4570627"/>
                <a:gd name="connsiteY78" fmla="*/ 4386359 h 4998171"/>
                <a:gd name="connsiteX79" fmla="*/ 2940888 w 4570627"/>
                <a:gd name="connsiteY79" fmla="*/ 4464797 h 4998171"/>
                <a:gd name="connsiteX80" fmla="*/ 2831076 w 4570627"/>
                <a:gd name="connsiteY80" fmla="*/ 4574609 h 4998171"/>
                <a:gd name="connsiteX81" fmla="*/ 2564389 w 4570627"/>
                <a:gd name="connsiteY81" fmla="*/ 4605984 h 4998171"/>
                <a:gd name="connsiteX82" fmla="*/ 2329077 w 4570627"/>
                <a:gd name="connsiteY82" fmla="*/ 4621672 h 4998171"/>
                <a:gd name="connsiteX83" fmla="*/ 2125140 w 4570627"/>
                <a:gd name="connsiteY83" fmla="*/ 4809921 h 4998171"/>
                <a:gd name="connsiteX84" fmla="*/ 1936891 w 4570627"/>
                <a:gd name="connsiteY84" fmla="*/ 4856984 h 4998171"/>
                <a:gd name="connsiteX85" fmla="*/ 1717266 w 4570627"/>
                <a:gd name="connsiteY85" fmla="*/ 4747171 h 4998171"/>
                <a:gd name="connsiteX86" fmla="*/ 1701579 w 4570627"/>
                <a:gd name="connsiteY86" fmla="*/ 4621672 h 4998171"/>
                <a:gd name="connsiteX87" fmla="*/ 1576079 w 4570627"/>
                <a:gd name="connsiteY87" fmla="*/ 4574609 h 4998171"/>
                <a:gd name="connsiteX88" fmla="*/ 1419205 w 4570627"/>
                <a:gd name="connsiteY88" fmla="*/ 4574609 h 4998171"/>
                <a:gd name="connsiteX89" fmla="*/ 1340768 w 4570627"/>
                <a:gd name="connsiteY89" fmla="*/ 4668734 h 4998171"/>
                <a:gd name="connsiteX90" fmla="*/ 1309393 w 4570627"/>
                <a:gd name="connsiteY90" fmla="*/ 4825609 h 4998171"/>
                <a:gd name="connsiteX91" fmla="*/ 1246643 w 4570627"/>
                <a:gd name="connsiteY91" fmla="*/ 4919734 h 4998171"/>
                <a:gd name="connsiteX92" fmla="*/ 1152518 w 4570627"/>
                <a:gd name="connsiteY92" fmla="*/ 4998171 h 4998171"/>
                <a:gd name="connsiteX93" fmla="*/ 964268 w 4570627"/>
                <a:gd name="connsiteY93" fmla="*/ 4951109 h 4998171"/>
                <a:gd name="connsiteX94" fmla="*/ 948581 w 4570627"/>
                <a:gd name="connsiteY94" fmla="*/ 4684421 h 4998171"/>
                <a:gd name="connsiteX95" fmla="*/ 807394 w 4570627"/>
                <a:gd name="connsiteY95" fmla="*/ 4590297 h 4998171"/>
                <a:gd name="connsiteX96" fmla="*/ 773692 w 4570627"/>
                <a:gd name="connsiteY96" fmla="*/ 4590297 h 4998171"/>
                <a:gd name="connsiteX97" fmla="*/ 802640 w 4570627"/>
                <a:gd name="connsiteY97" fmla="*/ 4538979 h 4998171"/>
                <a:gd name="connsiteX98" fmla="*/ 894080 w 4570627"/>
                <a:gd name="connsiteY98" fmla="*/ 4439919 h 4998171"/>
                <a:gd name="connsiteX99" fmla="*/ 1122680 w 4570627"/>
                <a:gd name="connsiteY99" fmla="*/ 4470399 h 4998171"/>
                <a:gd name="connsiteX100" fmla="*/ 1168400 w 4570627"/>
                <a:gd name="connsiteY100" fmla="*/ 4401819 h 4998171"/>
                <a:gd name="connsiteX101" fmla="*/ 1122680 w 4570627"/>
                <a:gd name="connsiteY101" fmla="*/ 4272279 h 4998171"/>
                <a:gd name="connsiteX102" fmla="*/ 1160780 w 4570627"/>
                <a:gd name="connsiteY102" fmla="*/ 4218939 h 4998171"/>
                <a:gd name="connsiteX103" fmla="*/ 1130300 w 4570627"/>
                <a:gd name="connsiteY103" fmla="*/ 4127499 h 4998171"/>
                <a:gd name="connsiteX104" fmla="*/ 1160780 w 4570627"/>
                <a:gd name="connsiteY104" fmla="*/ 3807459 h 4998171"/>
                <a:gd name="connsiteX105" fmla="*/ 1038860 w 4570627"/>
                <a:gd name="connsiteY105" fmla="*/ 3395979 h 4998171"/>
                <a:gd name="connsiteX106" fmla="*/ 1130300 w 4570627"/>
                <a:gd name="connsiteY106" fmla="*/ 3235959 h 4998171"/>
                <a:gd name="connsiteX107" fmla="*/ 1183640 w 4570627"/>
                <a:gd name="connsiteY107" fmla="*/ 3274059 h 4998171"/>
                <a:gd name="connsiteX108" fmla="*/ 1336040 w 4570627"/>
                <a:gd name="connsiteY108" fmla="*/ 3174999 h 4998171"/>
                <a:gd name="connsiteX109" fmla="*/ 1351280 w 4570627"/>
                <a:gd name="connsiteY109" fmla="*/ 3045459 h 4998171"/>
                <a:gd name="connsiteX110" fmla="*/ 1290320 w 4570627"/>
                <a:gd name="connsiteY110" fmla="*/ 2969259 h 4998171"/>
                <a:gd name="connsiteX111" fmla="*/ 1290320 w 4570627"/>
                <a:gd name="connsiteY111" fmla="*/ 2923539 h 4998171"/>
                <a:gd name="connsiteX112" fmla="*/ 1366520 w 4570627"/>
                <a:gd name="connsiteY112" fmla="*/ 2923539 h 4998171"/>
                <a:gd name="connsiteX113" fmla="*/ 1389380 w 4570627"/>
                <a:gd name="connsiteY113" fmla="*/ 2969259 h 4998171"/>
                <a:gd name="connsiteX114" fmla="*/ 1518920 w 4570627"/>
                <a:gd name="connsiteY114" fmla="*/ 2938779 h 4998171"/>
                <a:gd name="connsiteX115" fmla="*/ 1503680 w 4570627"/>
                <a:gd name="connsiteY115" fmla="*/ 2847339 h 4998171"/>
                <a:gd name="connsiteX116" fmla="*/ 1450340 w 4570627"/>
                <a:gd name="connsiteY116" fmla="*/ 2786379 h 4998171"/>
                <a:gd name="connsiteX117" fmla="*/ 1488440 w 4570627"/>
                <a:gd name="connsiteY117" fmla="*/ 2573019 h 4998171"/>
                <a:gd name="connsiteX118" fmla="*/ 1389380 w 4570627"/>
                <a:gd name="connsiteY118" fmla="*/ 2420619 h 4998171"/>
                <a:gd name="connsiteX119" fmla="*/ 1297940 w 4570627"/>
                <a:gd name="connsiteY119" fmla="*/ 2405379 h 4998171"/>
                <a:gd name="connsiteX120" fmla="*/ 1244600 w 4570627"/>
                <a:gd name="connsiteY120" fmla="*/ 2306319 h 4998171"/>
                <a:gd name="connsiteX121" fmla="*/ 1282700 w 4570627"/>
                <a:gd name="connsiteY121" fmla="*/ 2252979 h 4998171"/>
                <a:gd name="connsiteX122" fmla="*/ 1183640 w 4570627"/>
                <a:gd name="connsiteY122" fmla="*/ 2146299 h 4998171"/>
                <a:gd name="connsiteX123" fmla="*/ 1168400 w 4570627"/>
                <a:gd name="connsiteY123" fmla="*/ 2047239 h 4998171"/>
                <a:gd name="connsiteX124" fmla="*/ 1183640 w 4570627"/>
                <a:gd name="connsiteY124" fmla="*/ 2016759 h 4998171"/>
                <a:gd name="connsiteX125" fmla="*/ 1153160 w 4570627"/>
                <a:gd name="connsiteY125" fmla="*/ 1887219 h 4998171"/>
                <a:gd name="connsiteX126" fmla="*/ 1176020 w 4570627"/>
                <a:gd name="connsiteY126" fmla="*/ 1871979 h 4998171"/>
                <a:gd name="connsiteX127" fmla="*/ 1145540 w 4570627"/>
                <a:gd name="connsiteY127" fmla="*/ 1658619 h 4998171"/>
                <a:gd name="connsiteX128" fmla="*/ 1099820 w 4570627"/>
                <a:gd name="connsiteY128" fmla="*/ 1620519 h 4998171"/>
                <a:gd name="connsiteX129" fmla="*/ 1076960 w 4570627"/>
                <a:gd name="connsiteY129" fmla="*/ 1643379 h 4998171"/>
                <a:gd name="connsiteX130" fmla="*/ 1069340 w 4570627"/>
                <a:gd name="connsiteY130" fmla="*/ 1711959 h 4998171"/>
                <a:gd name="connsiteX131" fmla="*/ 970280 w 4570627"/>
                <a:gd name="connsiteY131" fmla="*/ 1719579 h 4998171"/>
                <a:gd name="connsiteX132" fmla="*/ 932180 w 4570627"/>
                <a:gd name="connsiteY132" fmla="*/ 1574799 h 4998171"/>
                <a:gd name="connsiteX133" fmla="*/ 871220 w 4570627"/>
                <a:gd name="connsiteY133" fmla="*/ 1620519 h 4998171"/>
                <a:gd name="connsiteX134" fmla="*/ 855980 w 4570627"/>
                <a:gd name="connsiteY134" fmla="*/ 1574799 h 4998171"/>
                <a:gd name="connsiteX135" fmla="*/ 924560 w 4570627"/>
                <a:gd name="connsiteY135" fmla="*/ 1513839 h 4998171"/>
                <a:gd name="connsiteX136" fmla="*/ 855980 w 4570627"/>
                <a:gd name="connsiteY136" fmla="*/ 1384299 h 4998171"/>
                <a:gd name="connsiteX137" fmla="*/ 825500 w 4570627"/>
                <a:gd name="connsiteY137" fmla="*/ 1330959 h 4998171"/>
                <a:gd name="connsiteX138" fmla="*/ 787400 w 4570627"/>
                <a:gd name="connsiteY138" fmla="*/ 1430019 h 4998171"/>
                <a:gd name="connsiteX139" fmla="*/ 772160 w 4570627"/>
                <a:gd name="connsiteY139" fmla="*/ 1369059 h 4998171"/>
                <a:gd name="connsiteX140" fmla="*/ 688340 w 4570627"/>
                <a:gd name="connsiteY140" fmla="*/ 1422399 h 4998171"/>
                <a:gd name="connsiteX141" fmla="*/ 695960 w 4570627"/>
                <a:gd name="connsiteY141" fmla="*/ 1277619 h 4998171"/>
                <a:gd name="connsiteX142" fmla="*/ 497840 w 4570627"/>
                <a:gd name="connsiteY142" fmla="*/ 1262379 h 4998171"/>
                <a:gd name="connsiteX143" fmla="*/ 353060 w 4570627"/>
                <a:gd name="connsiteY143" fmla="*/ 1315719 h 4998171"/>
                <a:gd name="connsiteX144" fmla="*/ 467360 w 4570627"/>
                <a:gd name="connsiteY144" fmla="*/ 1376679 h 4998171"/>
                <a:gd name="connsiteX145" fmla="*/ 474980 w 4570627"/>
                <a:gd name="connsiteY145" fmla="*/ 1452879 h 4998171"/>
                <a:gd name="connsiteX146" fmla="*/ 391160 w 4570627"/>
                <a:gd name="connsiteY146" fmla="*/ 1452879 h 4998171"/>
                <a:gd name="connsiteX147" fmla="*/ 360680 w 4570627"/>
                <a:gd name="connsiteY147" fmla="*/ 1551939 h 4998171"/>
                <a:gd name="connsiteX148" fmla="*/ 132080 w 4570627"/>
                <a:gd name="connsiteY148" fmla="*/ 1567179 h 4998171"/>
                <a:gd name="connsiteX149" fmla="*/ 69850 w 4570627"/>
                <a:gd name="connsiteY149" fmla="*/ 1533990 h 4998171"/>
                <a:gd name="connsiteX150" fmla="*/ 69850 w 4570627"/>
                <a:gd name="connsiteY150" fmla="*/ 1435099 h 4998171"/>
                <a:gd name="connsiteX151" fmla="*/ 146050 w 4570627"/>
                <a:gd name="connsiteY151" fmla="*/ 1295399 h 4998171"/>
                <a:gd name="connsiteX152" fmla="*/ 82550 w 4570627"/>
                <a:gd name="connsiteY152" fmla="*/ 1193799 h 4998171"/>
                <a:gd name="connsiteX153" fmla="*/ 25400 w 4570627"/>
                <a:gd name="connsiteY153" fmla="*/ 1168399 h 4998171"/>
                <a:gd name="connsiteX154" fmla="*/ 31750 w 4570627"/>
                <a:gd name="connsiteY154" fmla="*/ 952499 h 4998171"/>
                <a:gd name="connsiteX155" fmla="*/ 0 w 4570627"/>
                <a:gd name="connsiteY155" fmla="*/ 876299 h 4998171"/>
                <a:gd name="connsiteX156" fmla="*/ 0 w 4570627"/>
                <a:gd name="connsiteY156" fmla="*/ 774699 h 4998171"/>
                <a:gd name="connsiteX157" fmla="*/ 107950 w 4570627"/>
                <a:gd name="connsiteY157" fmla="*/ 755649 h 4998171"/>
                <a:gd name="connsiteX158" fmla="*/ 127000 w 4570627"/>
                <a:gd name="connsiteY158" fmla="*/ 806449 h 4998171"/>
                <a:gd name="connsiteX159" fmla="*/ 215900 w 4570627"/>
                <a:gd name="connsiteY159" fmla="*/ 749299 h 4998171"/>
                <a:gd name="connsiteX160" fmla="*/ 368300 w 4570627"/>
                <a:gd name="connsiteY160" fmla="*/ 749299 h 4998171"/>
                <a:gd name="connsiteX161" fmla="*/ 368300 w 4570627"/>
                <a:gd name="connsiteY161" fmla="*/ 800099 h 4998171"/>
                <a:gd name="connsiteX162" fmla="*/ 495300 w 4570627"/>
                <a:gd name="connsiteY162" fmla="*/ 800099 h 4998171"/>
                <a:gd name="connsiteX163" fmla="*/ 488950 w 4570627"/>
                <a:gd name="connsiteY163" fmla="*/ 711199 h 4998171"/>
                <a:gd name="connsiteX164" fmla="*/ 488950 w 4570627"/>
                <a:gd name="connsiteY164" fmla="*/ 603249 h 4998171"/>
                <a:gd name="connsiteX165" fmla="*/ 596900 w 4570627"/>
                <a:gd name="connsiteY165" fmla="*/ 615949 h 4998171"/>
                <a:gd name="connsiteX166" fmla="*/ 679450 w 4570627"/>
                <a:gd name="connsiteY166" fmla="*/ 514349 h 4998171"/>
                <a:gd name="connsiteX167" fmla="*/ 717550 w 4570627"/>
                <a:gd name="connsiteY167" fmla="*/ 311149 h 4998171"/>
                <a:gd name="connsiteX168" fmla="*/ 812800 w 4570627"/>
                <a:gd name="connsiteY168" fmla="*/ 361949 h 4998171"/>
                <a:gd name="connsiteX169" fmla="*/ 952500 w 4570627"/>
                <a:gd name="connsiteY169" fmla="*/ 266699 h 4998171"/>
                <a:gd name="connsiteX170" fmla="*/ 979517 w 4570627"/>
                <a:gd name="connsiteY170" fmla="*/ 226176 h 4998171"/>
                <a:gd name="connsiteX171" fmla="*/ 977900 w 4570627"/>
                <a:gd name="connsiteY171" fmla="*/ 273049 h 4998171"/>
                <a:gd name="connsiteX172" fmla="*/ 1060450 w 4570627"/>
                <a:gd name="connsiteY172" fmla="*/ 177799 h 4998171"/>
                <a:gd name="connsiteX173" fmla="*/ 869950 w 4570627"/>
                <a:gd name="connsiteY173" fmla="*/ 69850 h 4998171"/>
                <a:gd name="connsiteX174" fmla="*/ 812801 w 4570627"/>
                <a:gd name="connsiteY174" fmla="*/ 12700 h 4998171"/>
                <a:gd name="connsiteX175" fmla="*/ 869950 w 4570627"/>
                <a:gd name="connsiteY175" fmla="*/ 69849 h 4998171"/>
                <a:gd name="connsiteX176" fmla="*/ 920750 w 4570627"/>
                <a:gd name="connsiteY176" fmla="*/ 57149 h 4998171"/>
                <a:gd name="connsiteX177" fmla="*/ 920750 w 4570627"/>
                <a:gd name="connsiteY177" fmla="*/ 57150 h 4998171"/>
                <a:gd name="connsiteX178" fmla="*/ 869950 w 4570627"/>
                <a:gd name="connsiteY178" fmla="*/ 69850 h 4998171"/>
                <a:gd name="connsiteX179" fmla="*/ 908051 w 4570627"/>
                <a:gd name="connsiteY179" fmla="*/ 6350 h 4998171"/>
                <a:gd name="connsiteX180" fmla="*/ 1022350 w 4570627"/>
                <a:gd name="connsiteY180" fmla="*/ 50799 h 4998171"/>
                <a:gd name="connsiteX181" fmla="*/ 1022350 w 4570627"/>
                <a:gd name="connsiteY181" fmla="*/ 50800 h 4998171"/>
                <a:gd name="connsiteX182" fmla="*/ 984250 w 4570627"/>
                <a:gd name="connsiteY182" fmla="*/ 0 h 4998171"/>
                <a:gd name="connsiteX183" fmla="*/ 908051 w 4570627"/>
                <a:gd name="connsiteY183" fmla="*/ 6350 h 4998171"/>
                <a:gd name="connsiteX0" fmla="*/ 555179 w 4570627"/>
                <a:gd name="connsiteY0" fmla="*/ 4669234 h 4998171"/>
                <a:gd name="connsiteX1" fmla="*/ 555179 w 4570627"/>
                <a:gd name="connsiteY1" fmla="*/ 4669234 h 4998171"/>
                <a:gd name="connsiteX2" fmla="*/ 546724 w 4570627"/>
                <a:gd name="connsiteY2" fmla="*/ 4693834 h 4998171"/>
                <a:gd name="connsiteX3" fmla="*/ 546723 w 4570627"/>
                <a:gd name="connsiteY3" fmla="*/ 4693834 h 4998171"/>
                <a:gd name="connsiteX4" fmla="*/ 555179 w 4570627"/>
                <a:gd name="connsiteY4" fmla="*/ 4669234 h 4998171"/>
                <a:gd name="connsiteX5" fmla="*/ 1060450 w 4570627"/>
                <a:gd name="connsiteY5" fmla="*/ 177799 h 4998171"/>
                <a:gd name="connsiteX6" fmla="*/ 1149350 w 4570627"/>
                <a:gd name="connsiteY6" fmla="*/ 215899 h 4998171"/>
                <a:gd name="connsiteX7" fmla="*/ 1263650 w 4570627"/>
                <a:gd name="connsiteY7" fmla="*/ 292099 h 4998171"/>
                <a:gd name="connsiteX8" fmla="*/ 1320800 w 4570627"/>
                <a:gd name="connsiteY8" fmla="*/ 412749 h 4998171"/>
                <a:gd name="connsiteX9" fmla="*/ 1371600 w 4570627"/>
                <a:gd name="connsiteY9" fmla="*/ 393699 h 4998171"/>
                <a:gd name="connsiteX10" fmla="*/ 1479550 w 4570627"/>
                <a:gd name="connsiteY10" fmla="*/ 501649 h 4998171"/>
                <a:gd name="connsiteX11" fmla="*/ 1530350 w 4570627"/>
                <a:gd name="connsiteY11" fmla="*/ 666749 h 4998171"/>
                <a:gd name="connsiteX12" fmla="*/ 1612900 w 4570627"/>
                <a:gd name="connsiteY12" fmla="*/ 711199 h 4998171"/>
                <a:gd name="connsiteX13" fmla="*/ 1638300 w 4570627"/>
                <a:gd name="connsiteY13" fmla="*/ 641349 h 4998171"/>
                <a:gd name="connsiteX14" fmla="*/ 1739900 w 4570627"/>
                <a:gd name="connsiteY14" fmla="*/ 647699 h 4998171"/>
                <a:gd name="connsiteX15" fmla="*/ 1746250 w 4570627"/>
                <a:gd name="connsiteY15" fmla="*/ 596899 h 4998171"/>
                <a:gd name="connsiteX16" fmla="*/ 1689100 w 4570627"/>
                <a:gd name="connsiteY16" fmla="*/ 565149 h 4998171"/>
                <a:gd name="connsiteX17" fmla="*/ 1638300 w 4570627"/>
                <a:gd name="connsiteY17" fmla="*/ 520699 h 4998171"/>
                <a:gd name="connsiteX18" fmla="*/ 1625600 w 4570627"/>
                <a:gd name="connsiteY18" fmla="*/ 469899 h 4998171"/>
                <a:gd name="connsiteX19" fmla="*/ 1778000 w 4570627"/>
                <a:gd name="connsiteY19" fmla="*/ 412749 h 4998171"/>
                <a:gd name="connsiteX20" fmla="*/ 1879600 w 4570627"/>
                <a:gd name="connsiteY20" fmla="*/ 425449 h 4998171"/>
                <a:gd name="connsiteX21" fmla="*/ 1873250 w 4570627"/>
                <a:gd name="connsiteY21" fmla="*/ 488949 h 4998171"/>
                <a:gd name="connsiteX22" fmla="*/ 1981200 w 4570627"/>
                <a:gd name="connsiteY22" fmla="*/ 482599 h 4998171"/>
                <a:gd name="connsiteX23" fmla="*/ 2006600 w 4570627"/>
                <a:gd name="connsiteY23" fmla="*/ 482599 h 4998171"/>
                <a:gd name="connsiteX24" fmla="*/ 2032000 w 4570627"/>
                <a:gd name="connsiteY24" fmla="*/ 584199 h 4998171"/>
                <a:gd name="connsiteX25" fmla="*/ 2133600 w 4570627"/>
                <a:gd name="connsiteY25" fmla="*/ 596899 h 4998171"/>
                <a:gd name="connsiteX26" fmla="*/ 2171700 w 4570627"/>
                <a:gd name="connsiteY26" fmla="*/ 463549 h 4998171"/>
                <a:gd name="connsiteX27" fmla="*/ 2146300 w 4570627"/>
                <a:gd name="connsiteY27" fmla="*/ 323849 h 4998171"/>
                <a:gd name="connsiteX28" fmla="*/ 2216150 w 4570627"/>
                <a:gd name="connsiteY28" fmla="*/ 241299 h 4998171"/>
                <a:gd name="connsiteX29" fmla="*/ 2279650 w 4570627"/>
                <a:gd name="connsiteY29" fmla="*/ 234949 h 4998171"/>
                <a:gd name="connsiteX30" fmla="*/ 2305050 w 4570627"/>
                <a:gd name="connsiteY30" fmla="*/ 330199 h 4998171"/>
                <a:gd name="connsiteX31" fmla="*/ 2374900 w 4570627"/>
                <a:gd name="connsiteY31" fmla="*/ 393699 h 4998171"/>
                <a:gd name="connsiteX32" fmla="*/ 2381250 w 4570627"/>
                <a:gd name="connsiteY32" fmla="*/ 457199 h 4998171"/>
                <a:gd name="connsiteX33" fmla="*/ 2514600 w 4570627"/>
                <a:gd name="connsiteY33" fmla="*/ 406399 h 4998171"/>
                <a:gd name="connsiteX34" fmla="*/ 2641600 w 4570627"/>
                <a:gd name="connsiteY34" fmla="*/ 380999 h 4998171"/>
                <a:gd name="connsiteX35" fmla="*/ 2686050 w 4570627"/>
                <a:gd name="connsiteY35" fmla="*/ 419099 h 4998171"/>
                <a:gd name="connsiteX36" fmla="*/ 2774950 w 4570627"/>
                <a:gd name="connsiteY36" fmla="*/ 368299 h 4998171"/>
                <a:gd name="connsiteX37" fmla="*/ 2796953 w 4570627"/>
                <a:gd name="connsiteY37" fmla="*/ 370395 h 4998171"/>
                <a:gd name="connsiteX38" fmla="*/ 2787650 w 4570627"/>
                <a:gd name="connsiteY38" fmla="*/ 349251 h 4998171"/>
                <a:gd name="connsiteX39" fmla="*/ 2857500 w 4570627"/>
                <a:gd name="connsiteY39" fmla="*/ 508000 h 4998171"/>
                <a:gd name="connsiteX40" fmla="*/ 2971800 w 4570627"/>
                <a:gd name="connsiteY40" fmla="*/ 533400 h 4998171"/>
                <a:gd name="connsiteX41" fmla="*/ 3054350 w 4570627"/>
                <a:gd name="connsiteY41" fmla="*/ 552450 h 4998171"/>
                <a:gd name="connsiteX42" fmla="*/ 3093057 w 4570627"/>
                <a:gd name="connsiteY42" fmla="*/ 707280 h 4998171"/>
                <a:gd name="connsiteX43" fmla="*/ 3011086 w 4570627"/>
                <a:gd name="connsiteY43" fmla="*/ 588422 h 4998171"/>
                <a:gd name="connsiteX44" fmla="*/ 2924805 w 4570627"/>
                <a:gd name="connsiteY44" fmla="*/ 674703 h 4998171"/>
                <a:gd name="connsiteX45" fmla="*/ 3026774 w 4570627"/>
                <a:gd name="connsiteY45" fmla="*/ 784515 h 4998171"/>
                <a:gd name="connsiteX46" fmla="*/ 3050305 w 4570627"/>
                <a:gd name="connsiteY46" fmla="*/ 957077 h 4998171"/>
                <a:gd name="connsiteX47" fmla="*/ 3348367 w 4570627"/>
                <a:gd name="connsiteY47" fmla="*/ 1129640 h 4998171"/>
                <a:gd name="connsiteX48" fmla="*/ 3411117 w 4570627"/>
                <a:gd name="connsiteY48" fmla="*/ 1239452 h 4998171"/>
                <a:gd name="connsiteX49" fmla="*/ 3262086 w 4570627"/>
                <a:gd name="connsiteY49" fmla="*/ 1419858 h 4998171"/>
                <a:gd name="connsiteX50" fmla="*/ 3395429 w 4570627"/>
                <a:gd name="connsiteY50" fmla="*/ 1663014 h 4998171"/>
                <a:gd name="connsiteX51" fmla="*/ 3489554 w 4570627"/>
                <a:gd name="connsiteY51" fmla="*/ 1945388 h 4998171"/>
                <a:gd name="connsiteX52" fmla="*/ 3638585 w 4570627"/>
                <a:gd name="connsiteY52" fmla="*/ 2110107 h 4998171"/>
                <a:gd name="connsiteX53" fmla="*/ 3756241 w 4570627"/>
                <a:gd name="connsiteY53" fmla="*/ 2015982 h 4998171"/>
                <a:gd name="connsiteX54" fmla="*/ 3905271 w 4570627"/>
                <a:gd name="connsiteY54" fmla="*/ 2259138 h 4998171"/>
                <a:gd name="connsiteX55" fmla="*/ 4007240 w 4570627"/>
                <a:gd name="connsiteY55" fmla="*/ 2376794 h 4998171"/>
                <a:gd name="connsiteX56" fmla="*/ 4124896 w 4570627"/>
                <a:gd name="connsiteY56" fmla="*/ 2376794 h 4998171"/>
                <a:gd name="connsiteX57" fmla="*/ 4328833 w 4570627"/>
                <a:gd name="connsiteY57" fmla="*/ 2659168 h 4998171"/>
                <a:gd name="connsiteX58" fmla="*/ 4446489 w 4570627"/>
                <a:gd name="connsiteY58" fmla="*/ 2643481 h 4998171"/>
                <a:gd name="connsiteX59" fmla="*/ 4564145 w 4570627"/>
                <a:gd name="connsiteY59" fmla="*/ 2768981 h 4998171"/>
                <a:gd name="connsiteX60" fmla="*/ 4570627 w 4570627"/>
                <a:gd name="connsiteY60" fmla="*/ 2778981 h 4998171"/>
                <a:gd name="connsiteX61" fmla="*/ 4493946 w 4570627"/>
                <a:gd name="connsiteY61" fmla="*/ 3147049 h 4998171"/>
                <a:gd name="connsiteX62" fmla="*/ 4274322 w 4570627"/>
                <a:gd name="connsiteY62" fmla="*/ 3162736 h 4998171"/>
                <a:gd name="connsiteX63" fmla="*/ 4180197 w 4570627"/>
                <a:gd name="connsiteY63" fmla="*/ 3492173 h 4998171"/>
                <a:gd name="connsiteX64" fmla="*/ 3819386 w 4570627"/>
                <a:gd name="connsiteY64" fmla="*/ 3617673 h 4998171"/>
                <a:gd name="connsiteX65" fmla="*/ 3552699 w 4570627"/>
                <a:gd name="connsiteY65" fmla="*/ 3774548 h 4998171"/>
                <a:gd name="connsiteX66" fmla="*/ 3552699 w 4570627"/>
                <a:gd name="connsiteY66" fmla="*/ 3884360 h 4998171"/>
                <a:gd name="connsiteX67" fmla="*/ 3788011 w 4570627"/>
                <a:gd name="connsiteY67" fmla="*/ 4088297 h 4998171"/>
                <a:gd name="connsiteX68" fmla="*/ 3772323 w 4570627"/>
                <a:gd name="connsiteY68" fmla="*/ 4307922 h 4998171"/>
                <a:gd name="connsiteX69" fmla="*/ 3866448 w 4570627"/>
                <a:gd name="connsiteY69" fmla="*/ 4417734 h 4998171"/>
                <a:gd name="connsiteX70" fmla="*/ 3897823 w 4570627"/>
                <a:gd name="connsiteY70" fmla="*/ 4653047 h 4998171"/>
                <a:gd name="connsiteX71" fmla="*/ 3819386 w 4570627"/>
                <a:gd name="connsiteY71" fmla="*/ 4762859 h 4998171"/>
                <a:gd name="connsiteX72" fmla="*/ 3662511 w 4570627"/>
                <a:gd name="connsiteY72" fmla="*/ 4684421 h 4998171"/>
                <a:gd name="connsiteX73" fmla="*/ 3615449 w 4570627"/>
                <a:gd name="connsiteY73" fmla="*/ 4605984 h 4998171"/>
                <a:gd name="connsiteX74" fmla="*/ 3615449 w 4570627"/>
                <a:gd name="connsiteY74" fmla="*/ 4464797 h 4998171"/>
                <a:gd name="connsiteX75" fmla="*/ 3458574 w 4570627"/>
                <a:gd name="connsiteY75" fmla="*/ 4402047 h 4998171"/>
                <a:gd name="connsiteX76" fmla="*/ 3395824 w 4570627"/>
                <a:gd name="connsiteY76" fmla="*/ 4527547 h 4998171"/>
                <a:gd name="connsiteX77" fmla="*/ 3160513 w 4570627"/>
                <a:gd name="connsiteY77" fmla="*/ 4449109 h 4998171"/>
                <a:gd name="connsiteX78" fmla="*/ 3144825 w 4570627"/>
                <a:gd name="connsiteY78" fmla="*/ 4386359 h 4998171"/>
                <a:gd name="connsiteX79" fmla="*/ 2940888 w 4570627"/>
                <a:gd name="connsiteY79" fmla="*/ 4464797 h 4998171"/>
                <a:gd name="connsiteX80" fmla="*/ 2831076 w 4570627"/>
                <a:gd name="connsiteY80" fmla="*/ 4574609 h 4998171"/>
                <a:gd name="connsiteX81" fmla="*/ 2564389 w 4570627"/>
                <a:gd name="connsiteY81" fmla="*/ 4605984 h 4998171"/>
                <a:gd name="connsiteX82" fmla="*/ 2329077 w 4570627"/>
                <a:gd name="connsiteY82" fmla="*/ 4621672 h 4998171"/>
                <a:gd name="connsiteX83" fmla="*/ 2125140 w 4570627"/>
                <a:gd name="connsiteY83" fmla="*/ 4809921 h 4998171"/>
                <a:gd name="connsiteX84" fmla="*/ 1936891 w 4570627"/>
                <a:gd name="connsiteY84" fmla="*/ 4856984 h 4998171"/>
                <a:gd name="connsiteX85" fmla="*/ 1717266 w 4570627"/>
                <a:gd name="connsiteY85" fmla="*/ 4747171 h 4998171"/>
                <a:gd name="connsiteX86" fmla="*/ 1701579 w 4570627"/>
                <a:gd name="connsiteY86" fmla="*/ 4621672 h 4998171"/>
                <a:gd name="connsiteX87" fmla="*/ 1576079 w 4570627"/>
                <a:gd name="connsiteY87" fmla="*/ 4574609 h 4998171"/>
                <a:gd name="connsiteX88" fmla="*/ 1419205 w 4570627"/>
                <a:gd name="connsiteY88" fmla="*/ 4574609 h 4998171"/>
                <a:gd name="connsiteX89" fmla="*/ 1340768 w 4570627"/>
                <a:gd name="connsiteY89" fmla="*/ 4668734 h 4998171"/>
                <a:gd name="connsiteX90" fmla="*/ 1309393 w 4570627"/>
                <a:gd name="connsiteY90" fmla="*/ 4825609 h 4998171"/>
                <a:gd name="connsiteX91" fmla="*/ 1246643 w 4570627"/>
                <a:gd name="connsiteY91" fmla="*/ 4919734 h 4998171"/>
                <a:gd name="connsiteX92" fmla="*/ 1152518 w 4570627"/>
                <a:gd name="connsiteY92" fmla="*/ 4998171 h 4998171"/>
                <a:gd name="connsiteX93" fmla="*/ 964268 w 4570627"/>
                <a:gd name="connsiteY93" fmla="*/ 4951109 h 4998171"/>
                <a:gd name="connsiteX94" fmla="*/ 948581 w 4570627"/>
                <a:gd name="connsiteY94" fmla="*/ 4684421 h 4998171"/>
                <a:gd name="connsiteX95" fmla="*/ 807394 w 4570627"/>
                <a:gd name="connsiteY95" fmla="*/ 4590297 h 4998171"/>
                <a:gd name="connsiteX96" fmla="*/ 773692 w 4570627"/>
                <a:gd name="connsiteY96" fmla="*/ 4590297 h 4998171"/>
                <a:gd name="connsiteX97" fmla="*/ 802640 w 4570627"/>
                <a:gd name="connsiteY97" fmla="*/ 4538979 h 4998171"/>
                <a:gd name="connsiteX98" fmla="*/ 894080 w 4570627"/>
                <a:gd name="connsiteY98" fmla="*/ 4439919 h 4998171"/>
                <a:gd name="connsiteX99" fmla="*/ 1122680 w 4570627"/>
                <a:gd name="connsiteY99" fmla="*/ 4470399 h 4998171"/>
                <a:gd name="connsiteX100" fmla="*/ 1168400 w 4570627"/>
                <a:gd name="connsiteY100" fmla="*/ 4401819 h 4998171"/>
                <a:gd name="connsiteX101" fmla="*/ 1122680 w 4570627"/>
                <a:gd name="connsiteY101" fmla="*/ 4272279 h 4998171"/>
                <a:gd name="connsiteX102" fmla="*/ 1160780 w 4570627"/>
                <a:gd name="connsiteY102" fmla="*/ 4218939 h 4998171"/>
                <a:gd name="connsiteX103" fmla="*/ 1130300 w 4570627"/>
                <a:gd name="connsiteY103" fmla="*/ 4127499 h 4998171"/>
                <a:gd name="connsiteX104" fmla="*/ 1160780 w 4570627"/>
                <a:gd name="connsiteY104" fmla="*/ 3807459 h 4998171"/>
                <a:gd name="connsiteX105" fmla="*/ 1038860 w 4570627"/>
                <a:gd name="connsiteY105" fmla="*/ 3395979 h 4998171"/>
                <a:gd name="connsiteX106" fmla="*/ 1130300 w 4570627"/>
                <a:gd name="connsiteY106" fmla="*/ 3235959 h 4998171"/>
                <a:gd name="connsiteX107" fmla="*/ 1183640 w 4570627"/>
                <a:gd name="connsiteY107" fmla="*/ 3274059 h 4998171"/>
                <a:gd name="connsiteX108" fmla="*/ 1336040 w 4570627"/>
                <a:gd name="connsiteY108" fmla="*/ 3174999 h 4998171"/>
                <a:gd name="connsiteX109" fmla="*/ 1351280 w 4570627"/>
                <a:gd name="connsiteY109" fmla="*/ 3045459 h 4998171"/>
                <a:gd name="connsiteX110" fmla="*/ 1290320 w 4570627"/>
                <a:gd name="connsiteY110" fmla="*/ 2969259 h 4998171"/>
                <a:gd name="connsiteX111" fmla="*/ 1290320 w 4570627"/>
                <a:gd name="connsiteY111" fmla="*/ 2923539 h 4998171"/>
                <a:gd name="connsiteX112" fmla="*/ 1366520 w 4570627"/>
                <a:gd name="connsiteY112" fmla="*/ 2923539 h 4998171"/>
                <a:gd name="connsiteX113" fmla="*/ 1389380 w 4570627"/>
                <a:gd name="connsiteY113" fmla="*/ 2969259 h 4998171"/>
                <a:gd name="connsiteX114" fmla="*/ 1518920 w 4570627"/>
                <a:gd name="connsiteY114" fmla="*/ 2938779 h 4998171"/>
                <a:gd name="connsiteX115" fmla="*/ 1503680 w 4570627"/>
                <a:gd name="connsiteY115" fmla="*/ 2847339 h 4998171"/>
                <a:gd name="connsiteX116" fmla="*/ 1450340 w 4570627"/>
                <a:gd name="connsiteY116" fmla="*/ 2786379 h 4998171"/>
                <a:gd name="connsiteX117" fmla="*/ 1488440 w 4570627"/>
                <a:gd name="connsiteY117" fmla="*/ 2573019 h 4998171"/>
                <a:gd name="connsiteX118" fmla="*/ 1389380 w 4570627"/>
                <a:gd name="connsiteY118" fmla="*/ 2420619 h 4998171"/>
                <a:gd name="connsiteX119" fmla="*/ 1297940 w 4570627"/>
                <a:gd name="connsiteY119" fmla="*/ 2405379 h 4998171"/>
                <a:gd name="connsiteX120" fmla="*/ 1244600 w 4570627"/>
                <a:gd name="connsiteY120" fmla="*/ 2306319 h 4998171"/>
                <a:gd name="connsiteX121" fmla="*/ 1282700 w 4570627"/>
                <a:gd name="connsiteY121" fmla="*/ 2252979 h 4998171"/>
                <a:gd name="connsiteX122" fmla="*/ 1183640 w 4570627"/>
                <a:gd name="connsiteY122" fmla="*/ 2146299 h 4998171"/>
                <a:gd name="connsiteX123" fmla="*/ 1168400 w 4570627"/>
                <a:gd name="connsiteY123" fmla="*/ 2047239 h 4998171"/>
                <a:gd name="connsiteX124" fmla="*/ 1183640 w 4570627"/>
                <a:gd name="connsiteY124" fmla="*/ 2016759 h 4998171"/>
                <a:gd name="connsiteX125" fmla="*/ 1153160 w 4570627"/>
                <a:gd name="connsiteY125" fmla="*/ 1887219 h 4998171"/>
                <a:gd name="connsiteX126" fmla="*/ 1176020 w 4570627"/>
                <a:gd name="connsiteY126" fmla="*/ 1871979 h 4998171"/>
                <a:gd name="connsiteX127" fmla="*/ 1145540 w 4570627"/>
                <a:gd name="connsiteY127" fmla="*/ 1658619 h 4998171"/>
                <a:gd name="connsiteX128" fmla="*/ 1099820 w 4570627"/>
                <a:gd name="connsiteY128" fmla="*/ 1620519 h 4998171"/>
                <a:gd name="connsiteX129" fmla="*/ 1076960 w 4570627"/>
                <a:gd name="connsiteY129" fmla="*/ 1643379 h 4998171"/>
                <a:gd name="connsiteX130" fmla="*/ 1069340 w 4570627"/>
                <a:gd name="connsiteY130" fmla="*/ 1711959 h 4998171"/>
                <a:gd name="connsiteX131" fmla="*/ 970280 w 4570627"/>
                <a:gd name="connsiteY131" fmla="*/ 1719579 h 4998171"/>
                <a:gd name="connsiteX132" fmla="*/ 932180 w 4570627"/>
                <a:gd name="connsiteY132" fmla="*/ 1574799 h 4998171"/>
                <a:gd name="connsiteX133" fmla="*/ 871220 w 4570627"/>
                <a:gd name="connsiteY133" fmla="*/ 1620519 h 4998171"/>
                <a:gd name="connsiteX134" fmla="*/ 855980 w 4570627"/>
                <a:gd name="connsiteY134" fmla="*/ 1574799 h 4998171"/>
                <a:gd name="connsiteX135" fmla="*/ 924560 w 4570627"/>
                <a:gd name="connsiteY135" fmla="*/ 1513839 h 4998171"/>
                <a:gd name="connsiteX136" fmla="*/ 855980 w 4570627"/>
                <a:gd name="connsiteY136" fmla="*/ 1384299 h 4998171"/>
                <a:gd name="connsiteX137" fmla="*/ 825500 w 4570627"/>
                <a:gd name="connsiteY137" fmla="*/ 1330959 h 4998171"/>
                <a:gd name="connsiteX138" fmla="*/ 787400 w 4570627"/>
                <a:gd name="connsiteY138" fmla="*/ 1430019 h 4998171"/>
                <a:gd name="connsiteX139" fmla="*/ 772160 w 4570627"/>
                <a:gd name="connsiteY139" fmla="*/ 1369059 h 4998171"/>
                <a:gd name="connsiteX140" fmla="*/ 688340 w 4570627"/>
                <a:gd name="connsiteY140" fmla="*/ 1422399 h 4998171"/>
                <a:gd name="connsiteX141" fmla="*/ 695960 w 4570627"/>
                <a:gd name="connsiteY141" fmla="*/ 1277619 h 4998171"/>
                <a:gd name="connsiteX142" fmla="*/ 497840 w 4570627"/>
                <a:gd name="connsiteY142" fmla="*/ 1262379 h 4998171"/>
                <a:gd name="connsiteX143" fmla="*/ 353060 w 4570627"/>
                <a:gd name="connsiteY143" fmla="*/ 1315719 h 4998171"/>
                <a:gd name="connsiteX144" fmla="*/ 467360 w 4570627"/>
                <a:gd name="connsiteY144" fmla="*/ 1376679 h 4998171"/>
                <a:gd name="connsiteX145" fmla="*/ 474980 w 4570627"/>
                <a:gd name="connsiteY145" fmla="*/ 1452879 h 4998171"/>
                <a:gd name="connsiteX146" fmla="*/ 391160 w 4570627"/>
                <a:gd name="connsiteY146" fmla="*/ 1452879 h 4998171"/>
                <a:gd name="connsiteX147" fmla="*/ 360680 w 4570627"/>
                <a:gd name="connsiteY147" fmla="*/ 1551939 h 4998171"/>
                <a:gd name="connsiteX148" fmla="*/ 132080 w 4570627"/>
                <a:gd name="connsiteY148" fmla="*/ 1567179 h 4998171"/>
                <a:gd name="connsiteX149" fmla="*/ 69850 w 4570627"/>
                <a:gd name="connsiteY149" fmla="*/ 1533990 h 4998171"/>
                <a:gd name="connsiteX150" fmla="*/ 69850 w 4570627"/>
                <a:gd name="connsiteY150" fmla="*/ 1435099 h 4998171"/>
                <a:gd name="connsiteX151" fmla="*/ 146050 w 4570627"/>
                <a:gd name="connsiteY151" fmla="*/ 1295399 h 4998171"/>
                <a:gd name="connsiteX152" fmla="*/ 82550 w 4570627"/>
                <a:gd name="connsiteY152" fmla="*/ 1193799 h 4998171"/>
                <a:gd name="connsiteX153" fmla="*/ 25400 w 4570627"/>
                <a:gd name="connsiteY153" fmla="*/ 1168399 h 4998171"/>
                <a:gd name="connsiteX154" fmla="*/ 31750 w 4570627"/>
                <a:gd name="connsiteY154" fmla="*/ 952499 h 4998171"/>
                <a:gd name="connsiteX155" fmla="*/ 0 w 4570627"/>
                <a:gd name="connsiteY155" fmla="*/ 876299 h 4998171"/>
                <a:gd name="connsiteX156" fmla="*/ 0 w 4570627"/>
                <a:gd name="connsiteY156" fmla="*/ 774699 h 4998171"/>
                <a:gd name="connsiteX157" fmla="*/ 107950 w 4570627"/>
                <a:gd name="connsiteY157" fmla="*/ 755649 h 4998171"/>
                <a:gd name="connsiteX158" fmla="*/ 127000 w 4570627"/>
                <a:gd name="connsiteY158" fmla="*/ 806449 h 4998171"/>
                <a:gd name="connsiteX159" fmla="*/ 215900 w 4570627"/>
                <a:gd name="connsiteY159" fmla="*/ 749299 h 4998171"/>
                <a:gd name="connsiteX160" fmla="*/ 368300 w 4570627"/>
                <a:gd name="connsiteY160" fmla="*/ 749299 h 4998171"/>
                <a:gd name="connsiteX161" fmla="*/ 368300 w 4570627"/>
                <a:gd name="connsiteY161" fmla="*/ 800099 h 4998171"/>
                <a:gd name="connsiteX162" fmla="*/ 495300 w 4570627"/>
                <a:gd name="connsiteY162" fmla="*/ 800099 h 4998171"/>
                <a:gd name="connsiteX163" fmla="*/ 488950 w 4570627"/>
                <a:gd name="connsiteY163" fmla="*/ 711199 h 4998171"/>
                <a:gd name="connsiteX164" fmla="*/ 488950 w 4570627"/>
                <a:gd name="connsiteY164" fmla="*/ 603249 h 4998171"/>
                <a:gd name="connsiteX165" fmla="*/ 596900 w 4570627"/>
                <a:gd name="connsiteY165" fmla="*/ 615949 h 4998171"/>
                <a:gd name="connsiteX166" fmla="*/ 679450 w 4570627"/>
                <a:gd name="connsiteY166" fmla="*/ 514349 h 4998171"/>
                <a:gd name="connsiteX167" fmla="*/ 717550 w 4570627"/>
                <a:gd name="connsiteY167" fmla="*/ 311149 h 4998171"/>
                <a:gd name="connsiteX168" fmla="*/ 812800 w 4570627"/>
                <a:gd name="connsiteY168" fmla="*/ 361949 h 4998171"/>
                <a:gd name="connsiteX169" fmla="*/ 952500 w 4570627"/>
                <a:gd name="connsiteY169" fmla="*/ 266699 h 4998171"/>
                <a:gd name="connsiteX170" fmla="*/ 979517 w 4570627"/>
                <a:gd name="connsiteY170" fmla="*/ 226176 h 4998171"/>
                <a:gd name="connsiteX171" fmla="*/ 977900 w 4570627"/>
                <a:gd name="connsiteY171" fmla="*/ 273049 h 4998171"/>
                <a:gd name="connsiteX172" fmla="*/ 1060450 w 4570627"/>
                <a:gd name="connsiteY172" fmla="*/ 177799 h 4998171"/>
                <a:gd name="connsiteX173" fmla="*/ 869950 w 4570627"/>
                <a:gd name="connsiteY173" fmla="*/ 69850 h 4998171"/>
                <a:gd name="connsiteX174" fmla="*/ 812801 w 4570627"/>
                <a:gd name="connsiteY174" fmla="*/ 12700 h 4998171"/>
                <a:gd name="connsiteX175" fmla="*/ 869950 w 4570627"/>
                <a:gd name="connsiteY175" fmla="*/ 69849 h 4998171"/>
                <a:gd name="connsiteX176" fmla="*/ 920750 w 4570627"/>
                <a:gd name="connsiteY176" fmla="*/ 57149 h 4998171"/>
                <a:gd name="connsiteX177" fmla="*/ 920750 w 4570627"/>
                <a:gd name="connsiteY177" fmla="*/ 57150 h 4998171"/>
                <a:gd name="connsiteX178" fmla="*/ 869950 w 4570627"/>
                <a:gd name="connsiteY178" fmla="*/ 69850 h 4998171"/>
                <a:gd name="connsiteX179" fmla="*/ 984250 w 4570627"/>
                <a:gd name="connsiteY179" fmla="*/ 0 h 4998171"/>
                <a:gd name="connsiteX180" fmla="*/ 1022350 w 4570627"/>
                <a:gd name="connsiteY180" fmla="*/ 50799 h 4998171"/>
                <a:gd name="connsiteX181" fmla="*/ 1022350 w 4570627"/>
                <a:gd name="connsiteY181" fmla="*/ 50800 h 4998171"/>
                <a:gd name="connsiteX182" fmla="*/ 984250 w 4570627"/>
                <a:gd name="connsiteY182" fmla="*/ 0 h 4998171"/>
                <a:gd name="connsiteX0" fmla="*/ 555179 w 4570627"/>
                <a:gd name="connsiteY0" fmla="*/ 4669234 h 4998171"/>
                <a:gd name="connsiteX1" fmla="*/ 555179 w 4570627"/>
                <a:gd name="connsiteY1" fmla="*/ 4669234 h 4998171"/>
                <a:gd name="connsiteX2" fmla="*/ 546724 w 4570627"/>
                <a:gd name="connsiteY2" fmla="*/ 4693834 h 4998171"/>
                <a:gd name="connsiteX3" fmla="*/ 546723 w 4570627"/>
                <a:gd name="connsiteY3" fmla="*/ 4693834 h 4998171"/>
                <a:gd name="connsiteX4" fmla="*/ 555179 w 4570627"/>
                <a:gd name="connsiteY4" fmla="*/ 4669234 h 4998171"/>
                <a:gd name="connsiteX5" fmla="*/ 1060450 w 4570627"/>
                <a:gd name="connsiteY5" fmla="*/ 177799 h 4998171"/>
                <a:gd name="connsiteX6" fmla="*/ 1149350 w 4570627"/>
                <a:gd name="connsiteY6" fmla="*/ 215899 h 4998171"/>
                <a:gd name="connsiteX7" fmla="*/ 1263650 w 4570627"/>
                <a:gd name="connsiteY7" fmla="*/ 292099 h 4998171"/>
                <a:gd name="connsiteX8" fmla="*/ 1320800 w 4570627"/>
                <a:gd name="connsiteY8" fmla="*/ 412749 h 4998171"/>
                <a:gd name="connsiteX9" fmla="*/ 1371600 w 4570627"/>
                <a:gd name="connsiteY9" fmla="*/ 393699 h 4998171"/>
                <a:gd name="connsiteX10" fmla="*/ 1479550 w 4570627"/>
                <a:gd name="connsiteY10" fmla="*/ 501649 h 4998171"/>
                <a:gd name="connsiteX11" fmla="*/ 1530350 w 4570627"/>
                <a:gd name="connsiteY11" fmla="*/ 666749 h 4998171"/>
                <a:gd name="connsiteX12" fmla="*/ 1612900 w 4570627"/>
                <a:gd name="connsiteY12" fmla="*/ 711199 h 4998171"/>
                <a:gd name="connsiteX13" fmla="*/ 1638300 w 4570627"/>
                <a:gd name="connsiteY13" fmla="*/ 641349 h 4998171"/>
                <a:gd name="connsiteX14" fmla="*/ 1739900 w 4570627"/>
                <a:gd name="connsiteY14" fmla="*/ 647699 h 4998171"/>
                <a:gd name="connsiteX15" fmla="*/ 1746250 w 4570627"/>
                <a:gd name="connsiteY15" fmla="*/ 596899 h 4998171"/>
                <a:gd name="connsiteX16" fmla="*/ 1689100 w 4570627"/>
                <a:gd name="connsiteY16" fmla="*/ 565149 h 4998171"/>
                <a:gd name="connsiteX17" fmla="*/ 1638300 w 4570627"/>
                <a:gd name="connsiteY17" fmla="*/ 520699 h 4998171"/>
                <a:gd name="connsiteX18" fmla="*/ 1625600 w 4570627"/>
                <a:gd name="connsiteY18" fmla="*/ 469899 h 4998171"/>
                <a:gd name="connsiteX19" fmla="*/ 1778000 w 4570627"/>
                <a:gd name="connsiteY19" fmla="*/ 412749 h 4998171"/>
                <a:gd name="connsiteX20" fmla="*/ 1879600 w 4570627"/>
                <a:gd name="connsiteY20" fmla="*/ 425449 h 4998171"/>
                <a:gd name="connsiteX21" fmla="*/ 1873250 w 4570627"/>
                <a:gd name="connsiteY21" fmla="*/ 488949 h 4998171"/>
                <a:gd name="connsiteX22" fmla="*/ 1981200 w 4570627"/>
                <a:gd name="connsiteY22" fmla="*/ 482599 h 4998171"/>
                <a:gd name="connsiteX23" fmla="*/ 2006600 w 4570627"/>
                <a:gd name="connsiteY23" fmla="*/ 482599 h 4998171"/>
                <a:gd name="connsiteX24" fmla="*/ 2032000 w 4570627"/>
                <a:gd name="connsiteY24" fmla="*/ 584199 h 4998171"/>
                <a:gd name="connsiteX25" fmla="*/ 2133600 w 4570627"/>
                <a:gd name="connsiteY25" fmla="*/ 596899 h 4998171"/>
                <a:gd name="connsiteX26" fmla="*/ 2171700 w 4570627"/>
                <a:gd name="connsiteY26" fmla="*/ 463549 h 4998171"/>
                <a:gd name="connsiteX27" fmla="*/ 2146300 w 4570627"/>
                <a:gd name="connsiteY27" fmla="*/ 323849 h 4998171"/>
                <a:gd name="connsiteX28" fmla="*/ 2216150 w 4570627"/>
                <a:gd name="connsiteY28" fmla="*/ 241299 h 4998171"/>
                <a:gd name="connsiteX29" fmla="*/ 2279650 w 4570627"/>
                <a:gd name="connsiteY29" fmla="*/ 234949 h 4998171"/>
                <a:gd name="connsiteX30" fmla="*/ 2305050 w 4570627"/>
                <a:gd name="connsiteY30" fmla="*/ 330199 h 4998171"/>
                <a:gd name="connsiteX31" fmla="*/ 2374900 w 4570627"/>
                <a:gd name="connsiteY31" fmla="*/ 393699 h 4998171"/>
                <a:gd name="connsiteX32" fmla="*/ 2381250 w 4570627"/>
                <a:gd name="connsiteY32" fmla="*/ 457199 h 4998171"/>
                <a:gd name="connsiteX33" fmla="*/ 2514600 w 4570627"/>
                <a:gd name="connsiteY33" fmla="*/ 406399 h 4998171"/>
                <a:gd name="connsiteX34" fmla="*/ 2641600 w 4570627"/>
                <a:gd name="connsiteY34" fmla="*/ 380999 h 4998171"/>
                <a:gd name="connsiteX35" fmla="*/ 2686050 w 4570627"/>
                <a:gd name="connsiteY35" fmla="*/ 419099 h 4998171"/>
                <a:gd name="connsiteX36" fmla="*/ 2774950 w 4570627"/>
                <a:gd name="connsiteY36" fmla="*/ 368299 h 4998171"/>
                <a:gd name="connsiteX37" fmla="*/ 2796953 w 4570627"/>
                <a:gd name="connsiteY37" fmla="*/ 370395 h 4998171"/>
                <a:gd name="connsiteX38" fmla="*/ 2787650 w 4570627"/>
                <a:gd name="connsiteY38" fmla="*/ 349251 h 4998171"/>
                <a:gd name="connsiteX39" fmla="*/ 2857500 w 4570627"/>
                <a:gd name="connsiteY39" fmla="*/ 508000 h 4998171"/>
                <a:gd name="connsiteX40" fmla="*/ 2971800 w 4570627"/>
                <a:gd name="connsiteY40" fmla="*/ 533400 h 4998171"/>
                <a:gd name="connsiteX41" fmla="*/ 3054350 w 4570627"/>
                <a:gd name="connsiteY41" fmla="*/ 552450 h 4998171"/>
                <a:gd name="connsiteX42" fmla="*/ 3093057 w 4570627"/>
                <a:gd name="connsiteY42" fmla="*/ 707280 h 4998171"/>
                <a:gd name="connsiteX43" fmla="*/ 3011086 w 4570627"/>
                <a:gd name="connsiteY43" fmla="*/ 588422 h 4998171"/>
                <a:gd name="connsiteX44" fmla="*/ 2924805 w 4570627"/>
                <a:gd name="connsiteY44" fmla="*/ 674703 h 4998171"/>
                <a:gd name="connsiteX45" fmla="*/ 3026774 w 4570627"/>
                <a:gd name="connsiteY45" fmla="*/ 784515 h 4998171"/>
                <a:gd name="connsiteX46" fmla="*/ 3050305 w 4570627"/>
                <a:gd name="connsiteY46" fmla="*/ 957077 h 4998171"/>
                <a:gd name="connsiteX47" fmla="*/ 3348367 w 4570627"/>
                <a:gd name="connsiteY47" fmla="*/ 1129640 h 4998171"/>
                <a:gd name="connsiteX48" fmla="*/ 3411117 w 4570627"/>
                <a:gd name="connsiteY48" fmla="*/ 1239452 h 4998171"/>
                <a:gd name="connsiteX49" fmla="*/ 3262086 w 4570627"/>
                <a:gd name="connsiteY49" fmla="*/ 1419858 h 4998171"/>
                <a:gd name="connsiteX50" fmla="*/ 3395429 w 4570627"/>
                <a:gd name="connsiteY50" fmla="*/ 1663014 h 4998171"/>
                <a:gd name="connsiteX51" fmla="*/ 3489554 w 4570627"/>
                <a:gd name="connsiteY51" fmla="*/ 1945388 h 4998171"/>
                <a:gd name="connsiteX52" fmla="*/ 3638585 w 4570627"/>
                <a:gd name="connsiteY52" fmla="*/ 2110107 h 4998171"/>
                <a:gd name="connsiteX53" fmla="*/ 3756241 w 4570627"/>
                <a:gd name="connsiteY53" fmla="*/ 2015982 h 4998171"/>
                <a:gd name="connsiteX54" fmla="*/ 3905271 w 4570627"/>
                <a:gd name="connsiteY54" fmla="*/ 2259138 h 4998171"/>
                <a:gd name="connsiteX55" fmla="*/ 4007240 w 4570627"/>
                <a:gd name="connsiteY55" fmla="*/ 2376794 h 4998171"/>
                <a:gd name="connsiteX56" fmla="*/ 4124896 w 4570627"/>
                <a:gd name="connsiteY56" fmla="*/ 2376794 h 4998171"/>
                <a:gd name="connsiteX57" fmla="*/ 4328833 w 4570627"/>
                <a:gd name="connsiteY57" fmla="*/ 2659168 h 4998171"/>
                <a:gd name="connsiteX58" fmla="*/ 4446489 w 4570627"/>
                <a:gd name="connsiteY58" fmla="*/ 2643481 h 4998171"/>
                <a:gd name="connsiteX59" fmla="*/ 4564145 w 4570627"/>
                <a:gd name="connsiteY59" fmla="*/ 2768981 h 4998171"/>
                <a:gd name="connsiteX60" fmla="*/ 4570627 w 4570627"/>
                <a:gd name="connsiteY60" fmla="*/ 2778981 h 4998171"/>
                <a:gd name="connsiteX61" fmla="*/ 4493946 w 4570627"/>
                <a:gd name="connsiteY61" fmla="*/ 3147049 h 4998171"/>
                <a:gd name="connsiteX62" fmla="*/ 4274322 w 4570627"/>
                <a:gd name="connsiteY62" fmla="*/ 3162736 h 4998171"/>
                <a:gd name="connsiteX63" fmla="*/ 4180197 w 4570627"/>
                <a:gd name="connsiteY63" fmla="*/ 3492173 h 4998171"/>
                <a:gd name="connsiteX64" fmla="*/ 3819386 w 4570627"/>
                <a:gd name="connsiteY64" fmla="*/ 3617673 h 4998171"/>
                <a:gd name="connsiteX65" fmla="*/ 3552699 w 4570627"/>
                <a:gd name="connsiteY65" fmla="*/ 3774548 h 4998171"/>
                <a:gd name="connsiteX66" fmla="*/ 3552699 w 4570627"/>
                <a:gd name="connsiteY66" fmla="*/ 3884360 h 4998171"/>
                <a:gd name="connsiteX67" fmla="*/ 3788011 w 4570627"/>
                <a:gd name="connsiteY67" fmla="*/ 4088297 h 4998171"/>
                <a:gd name="connsiteX68" fmla="*/ 3772323 w 4570627"/>
                <a:gd name="connsiteY68" fmla="*/ 4307922 h 4998171"/>
                <a:gd name="connsiteX69" fmla="*/ 3866448 w 4570627"/>
                <a:gd name="connsiteY69" fmla="*/ 4417734 h 4998171"/>
                <a:gd name="connsiteX70" fmla="*/ 3897823 w 4570627"/>
                <a:gd name="connsiteY70" fmla="*/ 4653047 h 4998171"/>
                <a:gd name="connsiteX71" fmla="*/ 3819386 w 4570627"/>
                <a:gd name="connsiteY71" fmla="*/ 4762859 h 4998171"/>
                <a:gd name="connsiteX72" fmla="*/ 3662511 w 4570627"/>
                <a:gd name="connsiteY72" fmla="*/ 4684421 h 4998171"/>
                <a:gd name="connsiteX73" fmla="*/ 3615449 w 4570627"/>
                <a:gd name="connsiteY73" fmla="*/ 4605984 h 4998171"/>
                <a:gd name="connsiteX74" fmla="*/ 3615449 w 4570627"/>
                <a:gd name="connsiteY74" fmla="*/ 4464797 h 4998171"/>
                <a:gd name="connsiteX75" fmla="*/ 3458574 w 4570627"/>
                <a:gd name="connsiteY75" fmla="*/ 4402047 h 4998171"/>
                <a:gd name="connsiteX76" fmla="*/ 3395824 w 4570627"/>
                <a:gd name="connsiteY76" fmla="*/ 4527547 h 4998171"/>
                <a:gd name="connsiteX77" fmla="*/ 3160513 w 4570627"/>
                <a:gd name="connsiteY77" fmla="*/ 4449109 h 4998171"/>
                <a:gd name="connsiteX78" fmla="*/ 3144825 w 4570627"/>
                <a:gd name="connsiteY78" fmla="*/ 4386359 h 4998171"/>
                <a:gd name="connsiteX79" fmla="*/ 2940888 w 4570627"/>
                <a:gd name="connsiteY79" fmla="*/ 4464797 h 4998171"/>
                <a:gd name="connsiteX80" fmla="*/ 2831076 w 4570627"/>
                <a:gd name="connsiteY80" fmla="*/ 4574609 h 4998171"/>
                <a:gd name="connsiteX81" fmla="*/ 2564389 w 4570627"/>
                <a:gd name="connsiteY81" fmla="*/ 4605984 h 4998171"/>
                <a:gd name="connsiteX82" fmla="*/ 2329077 w 4570627"/>
                <a:gd name="connsiteY82" fmla="*/ 4621672 h 4998171"/>
                <a:gd name="connsiteX83" fmla="*/ 2125140 w 4570627"/>
                <a:gd name="connsiteY83" fmla="*/ 4809921 h 4998171"/>
                <a:gd name="connsiteX84" fmla="*/ 1936891 w 4570627"/>
                <a:gd name="connsiteY84" fmla="*/ 4856984 h 4998171"/>
                <a:gd name="connsiteX85" fmla="*/ 1717266 w 4570627"/>
                <a:gd name="connsiteY85" fmla="*/ 4747171 h 4998171"/>
                <a:gd name="connsiteX86" fmla="*/ 1701579 w 4570627"/>
                <a:gd name="connsiteY86" fmla="*/ 4621672 h 4998171"/>
                <a:gd name="connsiteX87" fmla="*/ 1576079 w 4570627"/>
                <a:gd name="connsiteY87" fmla="*/ 4574609 h 4998171"/>
                <a:gd name="connsiteX88" fmla="*/ 1419205 w 4570627"/>
                <a:gd name="connsiteY88" fmla="*/ 4574609 h 4998171"/>
                <a:gd name="connsiteX89" fmla="*/ 1340768 w 4570627"/>
                <a:gd name="connsiteY89" fmla="*/ 4668734 h 4998171"/>
                <a:gd name="connsiteX90" fmla="*/ 1309393 w 4570627"/>
                <a:gd name="connsiteY90" fmla="*/ 4825609 h 4998171"/>
                <a:gd name="connsiteX91" fmla="*/ 1246643 w 4570627"/>
                <a:gd name="connsiteY91" fmla="*/ 4919734 h 4998171"/>
                <a:gd name="connsiteX92" fmla="*/ 1152518 w 4570627"/>
                <a:gd name="connsiteY92" fmla="*/ 4998171 h 4998171"/>
                <a:gd name="connsiteX93" fmla="*/ 964268 w 4570627"/>
                <a:gd name="connsiteY93" fmla="*/ 4951109 h 4998171"/>
                <a:gd name="connsiteX94" fmla="*/ 948581 w 4570627"/>
                <a:gd name="connsiteY94" fmla="*/ 4684421 h 4998171"/>
                <a:gd name="connsiteX95" fmla="*/ 807394 w 4570627"/>
                <a:gd name="connsiteY95" fmla="*/ 4590297 h 4998171"/>
                <a:gd name="connsiteX96" fmla="*/ 773692 w 4570627"/>
                <a:gd name="connsiteY96" fmla="*/ 4590297 h 4998171"/>
                <a:gd name="connsiteX97" fmla="*/ 802640 w 4570627"/>
                <a:gd name="connsiteY97" fmla="*/ 4538979 h 4998171"/>
                <a:gd name="connsiteX98" fmla="*/ 894080 w 4570627"/>
                <a:gd name="connsiteY98" fmla="*/ 4439919 h 4998171"/>
                <a:gd name="connsiteX99" fmla="*/ 1122680 w 4570627"/>
                <a:gd name="connsiteY99" fmla="*/ 4470399 h 4998171"/>
                <a:gd name="connsiteX100" fmla="*/ 1168400 w 4570627"/>
                <a:gd name="connsiteY100" fmla="*/ 4401819 h 4998171"/>
                <a:gd name="connsiteX101" fmla="*/ 1122680 w 4570627"/>
                <a:gd name="connsiteY101" fmla="*/ 4272279 h 4998171"/>
                <a:gd name="connsiteX102" fmla="*/ 1160780 w 4570627"/>
                <a:gd name="connsiteY102" fmla="*/ 4218939 h 4998171"/>
                <a:gd name="connsiteX103" fmla="*/ 1130300 w 4570627"/>
                <a:gd name="connsiteY103" fmla="*/ 4127499 h 4998171"/>
                <a:gd name="connsiteX104" fmla="*/ 1160780 w 4570627"/>
                <a:gd name="connsiteY104" fmla="*/ 3807459 h 4998171"/>
                <a:gd name="connsiteX105" fmla="*/ 1038860 w 4570627"/>
                <a:gd name="connsiteY105" fmla="*/ 3395979 h 4998171"/>
                <a:gd name="connsiteX106" fmla="*/ 1130300 w 4570627"/>
                <a:gd name="connsiteY106" fmla="*/ 3235959 h 4998171"/>
                <a:gd name="connsiteX107" fmla="*/ 1183640 w 4570627"/>
                <a:gd name="connsiteY107" fmla="*/ 3274059 h 4998171"/>
                <a:gd name="connsiteX108" fmla="*/ 1336040 w 4570627"/>
                <a:gd name="connsiteY108" fmla="*/ 3174999 h 4998171"/>
                <a:gd name="connsiteX109" fmla="*/ 1351280 w 4570627"/>
                <a:gd name="connsiteY109" fmla="*/ 3045459 h 4998171"/>
                <a:gd name="connsiteX110" fmla="*/ 1290320 w 4570627"/>
                <a:gd name="connsiteY110" fmla="*/ 2969259 h 4998171"/>
                <a:gd name="connsiteX111" fmla="*/ 1290320 w 4570627"/>
                <a:gd name="connsiteY111" fmla="*/ 2923539 h 4998171"/>
                <a:gd name="connsiteX112" fmla="*/ 1366520 w 4570627"/>
                <a:gd name="connsiteY112" fmla="*/ 2923539 h 4998171"/>
                <a:gd name="connsiteX113" fmla="*/ 1389380 w 4570627"/>
                <a:gd name="connsiteY113" fmla="*/ 2969259 h 4998171"/>
                <a:gd name="connsiteX114" fmla="*/ 1518920 w 4570627"/>
                <a:gd name="connsiteY114" fmla="*/ 2938779 h 4998171"/>
                <a:gd name="connsiteX115" fmla="*/ 1503680 w 4570627"/>
                <a:gd name="connsiteY115" fmla="*/ 2847339 h 4998171"/>
                <a:gd name="connsiteX116" fmla="*/ 1450340 w 4570627"/>
                <a:gd name="connsiteY116" fmla="*/ 2786379 h 4998171"/>
                <a:gd name="connsiteX117" fmla="*/ 1488440 w 4570627"/>
                <a:gd name="connsiteY117" fmla="*/ 2573019 h 4998171"/>
                <a:gd name="connsiteX118" fmla="*/ 1389380 w 4570627"/>
                <a:gd name="connsiteY118" fmla="*/ 2420619 h 4998171"/>
                <a:gd name="connsiteX119" fmla="*/ 1297940 w 4570627"/>
                <a:gd name="connsiteY119" fmla="*/ 2405379 h 4998171"/>
                <a:gd name="connsiteX120" fmla="*/ 1244600 w 4570627"/>
                <a:gd name="connsiteY120" fmla="*/ 2306319 h 4998171"/>
                <a:gd name="connsiteX121" fmla="*/ 1282700 w 4570627"/>
                <a:gd name="connsiteY121" fmla="*/ 2252979 h 4998171"/>
                <a:gd name="connsiteX122" fmla="*/ 1183640 w 4570627"/>
                <a:gd name="connsiteY122" fmla="*/ 2146299 h 4998171"/>
                <a:gd name="connsiteX123" fmla="*/ 1168400 w 4570627"/>
                <a:gd name="connsiteY123" fmla="*/ 2047239 h 4998171"/>
                <a:gd name="connsiteX124" fmla="*/ 1183640 w 4570627"/>
                <a:gd name="connsiteY124" fmla="*/ 2016759 h 4998171"/>
                <a:gd name="connsiteX125" fmla="*/ 1153160 w 4570627"/>
                <a:gd name="connsiteY125" fmla="*/ 1887219 h 4998171"/>
                <a:gd name="connsiteX126" fmla="*/ 1176020 w 4570627"/>
                <a:gd name="connsiteY126" fmla="*/ 1871979 h 4998171"/>
                <a:gd name="connsiteX127" fmla="*/ 1145540 w 4570627"/>
                <a:gd name="connsiteY127" fmla="*/ 1658619 h 4998171"/>
                <a:gd name="connsiteX128" fmla="*/ 1099820 w 4570627"/>
                <a:gd name="connsiteY128" fmla="*/ 1620519 h 4998171"/>
                <a:gd name="connsiteX129" fmla="*/ 1076960 w 4570627"/>
                <a:gd name="connsiteY129" fmla="*/ 1643379 h 4998171"/>
                <a:gd name="connsiteX130" fmla="*/ 1069340 w 4570627"/>
                <a:gd name="connsiteY130" fmla="*/ 1711959 h 4998171"/>
                <a:gd name="connsiteX131" fmla="*/ 970280 w 4570627"/>
                <a:gd name="connsiteY131" fmla="*/ 1719579 h 4998171"/>
                <a:gd name="connsiteX132" fmla="*/ 932180 w 4570627"/>
                <a:gd name="connsiteY132" fmla="*/ 1574799 h 4998171"/>
                <a:gd name="connsiteX133" fmla="*/ 871220 w 4570627"/>
                <a:gd name="connsiteY133" fmla="*/ 1620519 h 4998171"/>
                <a:gd name="connsiteX134" fmla="*/ 855980 w 4570627"/>
                <a:gd name="connsiteY134" fmla="*/ 1574799 h 4998171"/>
                <a:gd name="connsiteX135" fmla="*/ 924560 w 4570627"/>
                <a:gd name="connsiteY135" fmla="*/ 1513839 h 4998171"/>
                <a:gd name="connsiteX136" fmla="*/ 855980 w 4570627"/>
                <a:gd name="connsiteY136" fmla="*/ 1384299 h 4998171"/>
                <a:gd name="connsiteX137" fmla="*/ 825500 w 4570627"/>
                <a:gd name="connsiteY137" fmla="*/ 1330959 h 4998171"/>
                <a:gd name="connsiteX138" fmla="*/ 787400 w 4570627"/>
                <a:gd name="connsiteY138" fmla="*/ 1430019 h 4998171"/>
                <a:gd name="connsiteX139" fmla="*/ 772160 w 4570627"/>
                <a:gd name="connsiteY139" fmla="*/ 1369059 h 4998171"/>
                <a:gd name="connsiteX140" fmla="*/ 688340 w 4570627"/>
                <a:gd name="connsiteY140" fmla="*/ 1422399 h 4998171"/>
                <a:gd name="connsiteX141" fmla="*/ 695960 w 4570627"/>
                <a:gd name="connsiteY141" fmla="*/ 1277619 h 4998171"/>
                <a:gd name="connsiteX142" fmla="*/ 497840 w 4570627"/>
                <a:gd name="connsiteY142" fmla="*/ 1262379 h 4998171"/>
                <a:gd name="connsiteX143" fmla="*/ 353060 w 4570627"/>
                <a:gd name="connsiteY143" fmla="*/ 1315719 h 4998171"/>
                <a:gd name="connsiteX144" fmla="*/ 467360 w 4570627"/>
                <a:gd name="connsiteY144" fmla="*/ 1376679 h 4998171"/>
                <a:gd name="connsiteX145" fmla="*/ 474980 w 4570627"/>
                <a:gd name="connsiteY145" fmla="*/ 1452879 h 4998171"/>
                <a:gd name="connsiteX146" fmla="*/ 391160 w 4570627"/>
                <a:gd name="connsiteY146" fmla="*/ 1452879 h 4998171"/>
                <a:gd name="connsiteX147" fmla="*/ 360680 w 4570627"/>
                <a:gd name="connsiteY147" fmla="*/ 1551939 h 4998171"/>
                <a:gd name="connsiteX148" fmla="*/ 132080 w 4570627"/>
                <a:gd name="connsiteY148" fmla="*/ 1567179 h 4998171"/>
                <a:gd name="connsiteX149" fmla="*/ 69850 w 4570627"/>
                <a:gd name="connsiteY149" fmla="*/ 1533990 h 4998171"/>
                <a:gd name="connsiteX150" fmla="*/ 69850 w 4570627"/>
                <a:gd name="connsiteY150" fmla="*/ 1435099 h 4998171"/>
                <a:gd name="connsiteX151" fmla="*/ 146050 w 4570627"/>
                <a:gd name="connsiteY151" fmla="*/ 1295399 h 4998171"/>
                <a:gd name="connsiteX152" fmla="*/ 82550 w 4570627"/>
                <a:gd name="connsiteY152" fmla="*/ 1193799 h 4998171"/>
                <a:gd name="connsiteX153" fmla="*/ 25400 w 4570627"/>
                <a:gd name="connsiteY153" fmla="*/ 1168399 h 4998171"/>
                <a:gd name="connsiteX154" fmla="*/ 31750 w 4570627"/>
                <a:gd name="connsiteY154" fmla="*/ 952499 h 4998171"/>
                <a:gd name="connsiteX155" fmla="*/ 0 w 4570627"/>
                <a:gd name="connsiteY155" fmla="*/ 876299 h 4998171"/>
                <a:gd name="connsiteX156" fmla="*/ 0 w 4570627"/>
                <a:gd name="connsiteY156" fmla="*/ 774699 h 4998171"/>
                <a:gd name="connsiteX157" fmla="*/ 107950 w 4570627"/>
                <a:gd name="connsiteY157" fmla="*/ 755649 h 4998171"/>
                <a:gd name="connsiteX158" fmla="*/ 127000 w 4570627"/>
                <a:gd name="connsiteY158" fmla="*/ 806449 h 4998171"/>
                <a:gd name="connsiteX159" fmla="*/ 215900 w 4570627"/>
                <a:gd name="connsiteY159" fmla="*/ 749299 h 4998171"/>
                <a:gd name="connsiteX160" fmla="*/ 368300 w 4570627"/>
                <a:gd name="connsiteY160" fmla="*/ 749299 h 4998171"/>
                <a:gd name="connsiteX161" fmla="*/ 368300 w 4570627"/>
                <a:gd name="connsiteY161" fmla="*/ 800099 h 4998171"/>
                <a:gd name="connsiteX162" fmla="*/ 495300 w 4570627"/>
                <a:gd name="connsiteY162" fmla="*/ 800099 h 4998171"/>
                <a:gd name="connsiteX163" fmla="*/ 488950 w 4570627"/>
                <a:gd name="connsiteY163" fmla="*/ 711199 h 4998171"/>
                <a:gd name="connsiteX164" fmla="*/ 488950 w 4570627"/>
                <a:gd name="connsiteY164" fmla="*/ 603249 h 4998171"/>
                <a:gd name="connsiteX165" fmla="*/ 596900 w 4570627"/>
                <a:gd name="connsiteY165" fmla="*/ 615949 h 4998171"/>
                <a:gd name="connsiteX166" fmla="*/ 679450 w 4570627"/>
                <a:gd name="connsiteY166" fmla="*/ 514349 h 4998171"/>
                <a:gd name="connsiteX167" fmla="*/ 717550 w 4570627"/>
                <a:gd name="connsiteY167" fmla="*/ 311149 h 4998171"/>
                <a:gd name="connsiteX168" fmla="*/ 812800 w 4570627"/>
                <a:gd name="connsiteY168" fmla="*/ 361949 h 4998171"/>
                <a:gd name="connsiteX169" fmla="*/ 952500 w 4570627"/>
                <a:gd name="connsiteY169" fmla="*/ 266699 h 4998171"/>
                <a:gd name="connsiteX170" fmla="*/ 979517 w 4570627"/>
                <a:gd name="connsiteY170" fmla="*/ 226176 h 4998171"/>
                <a:gd name="connsiteX171" fmla="*/ 977900 w 4570627"/>
                <a:gd name="connsiteY171" fmla="*/ 273049 h 4998171"/>
                <a:gd name="connsiteX172" fmla="*/ 1060450 w 4570627"/>
                <a:gd name="connsiteY172" fmla="*/ 177799 h 4998171"/>
                <a:gd name="connsiteX173" fmla="*/ 869950 w 4570627"/>
                <a:gd name="connsiteY173" fmla="*/ 69850 h 4998171"/>
                <a:gd name="connsiteX174" fmla="*/ 869950 w 4570627"/>
                <a:gd name="connsiteY174" fmla="*/ 69849 h 4998171"/>
                <a:gd name="connsiteX175" fmla="*/ 920750 w 4570627"/>
                <a:gd name="connsiteY175" fmla="*/ 57149 h 4998171"/>
                <a:gd name="connsiteX176" fmla="*/ 920750 w 4570627"/>
                <a:gd name="connsiteY176" fmla="*/ 57150 h 4998171"/>
                <a:gd name="connsiteX177" fmla="*/ 869950 w 4570627"/>
                <a:gd name="connsiteY177" fmla="*/ 69850 h 4998171"/>
                <a:gd name="connsiteX178" fmla="*/ 984250 w 4570627"/>
                <a:gd name="connsiteY178" fmla="*/ 0 h 4998171"/>
                <a:gd name="connsiteX179" fmla="*/ 1022350 w 4570627"/>
                <a:gd name="connsiteY179" fmla="*/ 50799 h 4998171"/>
                <a:gd name="connsiteX180" fmla="*/ 1022350 w 4570627"/>
                <a:gd name="connsiteY180" fmla="*/ 50800 h 4998171"/>
                <a:gd name="connsiteX181" fmla="*/ 984250 w 4570627"/>
                <a:gd name="connsiteY181" fmla="*/ 0 h 4998171"/>
                <a:gd name="connsiteX0" fmla="*/ 555179 w 4570627"/>
                <a:gd name="connsiteY0" fmla="*/ 4669234 h 4998171"/>
                <a:gd name="connsiteX1" fmla="*/ 555179 w 4570627"/>
                <a:gd name="connsiteY1" fmla="*/ 4669234 h 4998171"/>
                <a:gd name="connsiteX2" fmla="*/ 546724 w 4570627"/>
                <a:gd name="connsiteY2" fmla="*/ 4693834 h 4998171"/>
                <a:gd name="connsiteX3" fmla="*/ 546723 w 4570627"/>
                <a:gd name="connsiteY3" fmla="*/ 4693834 h 4998171"/>
                <a:gd name="connsiteX4" fmla="*/ 555179 w 4570627"/>
                <a:gd name="connsiteY4" fmla="*/ 4669234 h 4998171"/>
                <a:gd name="connsiteX5" fmla="*/ 1060450 w 4570627"/>
                <a:gd name="connsiteY5" fmla="*/ 177799 h 4998171"/>
                <a:gd name="connsiteX6" fmla="*/ 1149350 w 4570627"/>
                <a:gd name="connsiteY6" fmla="*/ 215899 h 4998171"/>
                <a:gd name="connsiteX7" fmla="*/ 1263650 w 4570627"/>
                <a:gd name="connsiteY7" fmla="*/ 292099 h 4998171"/>
                <a:gd name="connsiteX8" fmla="*/ 1320800 w 4570627"/>
                <a:gd name="connsiteY8" fmla="*/ 412749 h 4998171"/>
                <a:gd name="connsiteX9" fmla="*/ 1371600 w 4570627"/>
                <a:gd name="connsiteY9" fmla="*/ 393699 h 4998171"/>
                <a:gd name="connsiteX10" fmla="*/ 1479550 w 4570627"/>
                <a:gd name="connsiteY10" fmla="*/ 501649 h 4998171"/>
                <a:gd name="connsiteX11" fmla="*/ 1530350 w 4570627"/>
                <a:gd name="connsiteY11" fmla="*/ 666749 h 4998171"/>
                <a:gd name="connsiteX12" fmla="*/ 1612900 w 4570627"/>
                <a:gd name="connsiteY12" fmla="*/ 711199 h 4998171"/>
                <a:gd name="connsiteX13" fmla="*/ 1638300 w 4570627"/>
                <a:gd name="connsiteY13" fmla="*/ 641349 h 4998171"/>
                <a:gd name="connsiteX14" fmla="*/ 1739900 w 4570627"/>
                <a:gd name="connsiteY14" fmla="*/ 647699 h 4998171"/>
                <a:gd name="connsiteX15" fmla="*/ 1746250 w 4570627"/>
                <a:gd name="connsiteY15" fmla="*/ 596899 h 4998171"/>
                <a:gd name="connsiteX16" fmla="*/ 1689100 w 4570627"/>
                <a:gd name="connsiteY16" fmla="*/ 565149 h 4998171"/>
                <a:gd name="connsiteX17" fmla="*/ 1638300 w 4570627"/>
                <a:gd name="connsiteY17" fmla="*/ 520699 h 4998171"/>
                <a:gd name="connsiteX18" fmla="*/ 1625600 w 4570627"/>
                <a:gd name="connsiteY18" fmla="*/ 469899 h 4998171"/>
                <a:gd name="connsiteX19" fmla="*/ 1778000 w 4570627"/>
                <a:gd name="connsiteY19" fmla="*/ 412749 h 4998171"/>
                <a:gd name="connsiteX20" fmla="*/ 1879600 w 4570627"/>
                <a:gd name="connsiteY20" fmla="*/ 425449 h 4998171"/>
                <a:gd name="connsiteX21" fmla="*/ 1873250 w 4570627"/>
                <a:gd name="connsiteY21" fmla="*/ 488949 h 4998171"/>
                <a:gd name="connsiteX22" fmla="*/ 1981200 w 4570627"/>
                <a:gd name="connsiteY22" fmla="*/ 482599 h 4998171"/>
                <a:gd name="connsiteX23" fmla="*/ 2006600 w 4570627"/>
                <a:gd name="connsiteY23" fmla="*/ 482599 h 4998171"/>
                <a:gd name="connsiteX24" fmla="*/ 2032000 w 4570627"/>
                <a:gd name="connsiteY24" fmla="*/ 584199 h 4998171"/>
                <a:gd name="connsiteX25" fmla="*/ 2133600 w 4570627"/>
                <a:gd name="connsiteY25" fmla="*/ 596899 h 4998171"/>
                <a:gd name="connsiteX26" fmla="*/ 2171700 w 4570627"/>
                <a:gd name="connsiteY26" fmla="*/ 463549 h 4998171"/>
                <a:gd name="connsiteX27" fmla="*/ 2146300 w 4570627"/>
                <a:gd name="connsiteY27" fmla="*/ 323849 h 4998171"/>
                <a:gd name="connsiteX28" fmla="*/ 2216150 w 4570627"/>
                <a:gd name="connsiteY28" fmla="*/ 241299 h 4998171"/>
                <a:gd name="connsiteX29" fmla="*/ 2279650 w 4570627"/>
                <a:gd name="connsiteY29" fmla="*/ 234949 h 4998171"/>
                <a:gd name="connsiteX30" fmla="*/ 2305050 w 4570627"/>
                <a:gd name="connsiteY30" fmla="*/ 330199 h 4998171"/>
                <a:gd name="connsiteX31" fmla="*/ 2374900 w 4570627"/>
                <a:gd name="connsiteY31" fmla="*/ 393699 h 4998171"/>
                <a:gd name="connsiteX32" fmla="*/ 2381250 w 4570627"/>
                <a:gd name="connsiteY32" fmla="*/ 457199 h 4998171"/>
                <a:gd name="connsiteX33" fmla="*/ 2514600 w 4570627"/>
                <a:gd name="connsiteY33" fmla="*/ 406399 h 4998171"/>
                <a:gd name="connsiteX34" fmla="*/ 2641600 w 4570627"/>
                <a:gd name="connsiteY34" fmla="*/ 380999 h 4998171"/>
                <a:gd name="connsiteX35" fmla="*/ 2686050 w 4570627"/>
                <a:gd name="connsiteY35" fmla="*/ 419099 h 4998171"/>
                <a:gd name="connsiteX36" fmla="*/ 2774950 w 4570627"/>
                <a:gd name="connsiteY36" fmla="*/ 368299 h 4998171"/>
                <a:gd name="connsiteX37" fmla="*/ 2796953 w 4570627"/>
                <a:gd name="connsiteY37" fmla="*/ 370395 h 4998171"/>
                <a:gd name="connsiteX38" fmla="*/ 2787650 w 4570627"/>
                <a:gd name="connsiteY38" fmla="*/ 349251 h 4998171"/>
                <a:gd name="connsiteX39" fmla="*/ 2857500 w 4570627"/>
                <a:gd name="connsiteY39" fmla="*/ 508000 h 4998171"/>
                <a:gd name="connsiteX40" fmla="*/ 2971800 w 4570627"/>
                <a:gd name="connsiteY40" fmla="*/ 533400 h 4998171"/>
                <a:gd name="connsiteX41" fmla="*/ 3054350 w 4570627"/>
                <a:gd name="connsiteY41" fmla="*/ 552450 h 4998171"/>
                <a:gd name="connsiteX42" fmla="*/ 3093057 w 4570627"/>
                <a:gd name="connsiteY42" fmla="*/ 707280 h 4998171"/>
                <a:gd name="connsiteX43" fmla="*/ 3011086 w 4570627"/>
                <a:gd name="connsiteY43" fmla="*/ 588422 h 4998171"/>
                <a:gd name="connsiteX44" fmla="*/ 2924805 w 4570627"/>
                <a:gd name="connsiteY44" fmla="*/ 674703 h 4998171"/>
                <a:gd name="connsiteX45" fmla="*/ 3026774 w 4570627"/>
                <a:gd name="connsiteY45" fmla="*/ 784515 h 4998171"/>
                <a:gd name="connsiteX46" fmla="*/ 3050305 w 4570627"/>
                <a:gd name="connsiteY46" fmla="*/ 957077 h 4998171"/>
                <a:gd name="connsiteX47" fmla="*/ 3348367 w 4570627"/>
                <a:gd name="connsiteY47" fmla="*/ 1129640 h 4998171"/>
                <a:gd name="connsiteX48" fmla="*/ 3411117 w 4570627"/>
                <a:gd name="connsiteY48" fmla="*/ 1239452 h 4998171"/>
                <a:gd name="connsiteX49" fmla="*/ 3262086 w 4570627"/>
                <a:gd name="connsiteY49" fmla="*/ 1419858 h 4998171"/>
                <a:gd name="connsiteX50" fmla="*/ 3395429 w 4570627"/>
                <a:gd name="connsiteY50" fmla="*/ 1663014 h 4998171"/>
                <a:gd name="connsiteX51" fmla="*/ 3489554 w 4570627"/>
                <a:gd name="connsiteY51" fmla="*/ 1945388 h 4998171"/>
                <a:gd name="connsiteX52" fmla="*/ 3638585 w 4570627"/>
                <a:gd name="connsiteY52" fmla="*/ 2110107 h 4998171"/>
                <a:gd name="connsiteX53" fmla="*/ 3756241 w 4570627"/>
                <a:gd name="connsiteY53" fmla="*/ 2015982 h 4998171"/>
                <a:gd name="connsiteX54" fmla="*/ 3905271 w 4570627"/>
                <a:gd name="connsiteY54" fmla="*/ 2259138 h 4998171"/>
                <a:gd name="connsiteX55" fmla="*/ 4007240 w 4570627"/>
                <a:gd name="connsiteY55" fmla="*/ 2376794 h 4998171"/>
                <a:gd name="connsiteX56" fmla="*/ 4124896 w 4570627"/>
                <a:gd name="connsiteY56" fmla="*/ 2376794 h 4998171"/>
                <a:gd name="connsiteX57" fmla="*/ 4328833 w 4570627"/>
                <a:gd name="connsiteY57" fmla="*/ 2659168 h 4998171"/>
                <a:gd name="connsiteX58" fmla="*/ 4446489 w 4570627"/>
                <a:gd name="connsiteY58" fmla="*/ 2643481 h 4998171"/>
                <a:gd name="connsiteX59" fmla="*/ 4564145 w 4570627"/>
                <a:gd name="connsiteY59" fmla="*/ 2768981 h 4998171"/>
                <a:gd name="connsiteX60" fmla="*/ 4570627 w 4570627"/>
                <a:gd name="connsiteY60" fmla="*/ 2778981 h 4998171"/>
                <a:gd name="connsiteX61" fmla="*/ 4493946 w 4570627"/>
                <a:gd name="connsiteY61" fmla="*/ 3147049 h 4998171"/>
                <a:gd name="connsiteX62" fmla="*/ 4274322 w 4570627"/>
                <a:gd name="connsiteY62" fmla="*/ 3162736 h 4998171"/>
                <a:gd name="connsiteX63" fmla="*/ 4180197 w 4570627"/>
                <a:gd name="connsiteY63" fmla="*/ 3492173 h 4998171"/>
                <a:gd name="connsiteX64" fmla="*/ 3819386 w 4570627"/>
                <a:gd name="connsiteY64" fmla="*/ 3617673 h 4998171"/>
                <a:gd name="connsiteX65" fmla="*/ 3552699 w 4570627"/>
                <a:gd name="connsiteY65" fmla="*/ 3774548 h 4998171"/>
                <a:gd name="connsiteX66" fmla="*/ 3552699 w 4570627"/>
                <a:gd name="connsiteY66" fmla="*/ 3884360 h 4998171"/>
                <a:gd name="connsiteX67" fmla="*/ 3788011 w 4570627"/>
                <a:gd name="connsiteY67" fmla="*/ 4088297 h 4998171"/>
                <a:gd name="connsiteX68" fmla="*/ 3772323 w 4570627"/>
                <a:gd name="connsiteY68" fmla="*/ 4307922 h 4998171"/>
                <a:gd name="connsiteX69" fmla="*/ 3866448 w 4570627"/>
                <a:gd name="connsiteY69" fmla="*/ 4417734 h 4998171"/>
                <a:gd name="connsiteX70" fmla="*/ 3897823 w 4570627"/>
                <a:gd name="connsiteY70" fmla="*/ 4653047 h 4998171"/>
                <a:gd name="connsiteX71" fmla="*/ 3819386 w 4570627"/>
                <a:gd name="connsiteY71" fmla="*/ 4762859 h 4998171"/>
                <a:gd name="connsiteX72" fmla="*/ 3662511 w 4570627"/>
                <a:gd name="connsiteY72" fmla="*/ 4684421 h 4998171"/>
                <a:gd name="connsiteX73" fmla="*/ 3615449 w 4570627"/>
                <a:gd name="connsiteY73" fmla="*/ 4605984 h 4998171"/>
                <a:gd name="connsiteX74" fmla="*/ 3615449 w 4570627"/>
                <a:gd name="connsiteY74" fmla="*/ 4464797 h 4998171"/>
                <a:gd name="connsiteX75" fmla="*/ 3458574 w 4570627"/>
                <a:gd name="connsiteY75" fmla="*/ 4402047 h 4998171"/>
                <a:gd name="connsiteX76" fmla="*/ 3395824 w 4570627"/>
                <a:gd name="connsiteY76" fmla="*/ 4527547 h 4998171"/>
                <a:gd name="connsiteX77" fmla="*/ 3160513 w 4570627"/>
                <a:gd name="connsiteY77" fmla="*/ 4449109 h 4998171"/>
                <a:gd name="connsiteX78" fmla="*/ 3144825 w 4570627"/>
                <a:gd name="connsiteY78" fmla="*/ 4386359 h 4998171"/>
                <a:gd name="connsiteX79" fmla="*/ 2940888 w 4570627"/>
                <a:gd name="connsiteY79" fmla="*/ 4464797 h 4998171"/>
                <a:gd name="connsiteX80" fmla="*/ 2831076 w 4570627"/>
                <a:gd name="connsiteY80" fmla="*/ 4574609 h 4998171"/>
                <a:gd name="connsiteX81" fmla="*/ 2564389 w 4570627"/>
                <a:gd name="connsiteY81" fmla="*/ 4605984 h 4998171"/>
                <a:gd name="connsiteX82" fmla="*/ 2329077 w 4570627"/>
                <a:gd name="connsiteY82" fmla="*/ 4621672 h 4998171"/>
                <a:gd name="connsiteX83" fmla="*/ 2125140 w 4570627"/>
                <a:gd name="connsiteY83" fmla="*/ 4809921 h 4998171"/>
                <a:gd name="connsiteX84" fmla="*/ 1936891 w 4570627"/>
                <a:gd name="connsiteY84" fmla="*/ 4856984 h 4998171"/>
                <a:gd name="connsiteX85" fmla="*/ 1717266 w 4570627"/>
                <a:gd name="connsiteY85" fmla="*/ 4747171 h 4998171"/>
                <a:gd name="connsiteX86" fmla="*/ 1701579 w 4570627"/>
                <a:gd name="connsiteY86" fmla="*/ 4621672 h 4998171"/>
                <a:gd name="connsiteX87" fmla="*/ 1576079 w 4570627"/>
                <a:gd name="connsiteY87" fmla="*/ 4574609 h 4998171"/>
                <a:gd name="connsiteX88" fmla="*/ 1419205 w 4570627"/>
                <a:gd name="connsiteY88" fmla="*/ 4574609 h 4998171"/>
                <a:gd name="connsiteX89" fmla="*/ 1340768 w 4570627"/>
                <a:gd name="connsiteY89" fmla="*/ 4668734 h 4998171"/>
                <a:gd name="connsiteX90" fmla="*/ 1309393 w 4570627"/>
                <a:gd name="connsiteY90" fmla="*/ 4825609 h 4998171"/>
                <a:gd name="connsiteX91" fmla="*/ 1246643 w 4570627"/>
                <a:gd name="connsiteY91" fmla="*/ 4919734 h 4998171"/>
                <a:gd name="connsiteX92" fmla="*/ 1152518 w 4570627"/>
                <a:gd name="connsiteY92" fmla="*/ 4998171 h 4998171"/>
                <a:gd name="connsiteX93" fmla="*/ 964268 w 4570627"/>
                <a:gd name="connsiteY93" fmla="*/ 4951109 h 4998171"/>
                <a:gd name="connsiteX94" fmla="*/ 948581 w 4570627"/>
                <a:gd name="connsiteY94" fmla="*/ 4684421 h 4998171"/>
                <a:gd name="connsiteX95" fmla="*/ 807394 w 4570627"/>
                <a:gd name="connsiteY95" fmla="*/ 4590297 h 4998171"/>
                <a:gd name="connsiteX96" fmla="*/ 773692 w 4570627"/>
                <a:gd name="connsiteY96" fmla="*/ 4590297 h 4998171"/>
                <a:gd name="connsiteX97" fmla="*/ 802640 w 4570627"/>
                <a:gd name="connsiteY97" fmla="*/ 4538979 h 4998171"/>
                <a:gd name="connsiteX98" fmla="*/ 894080 w 4570627"/>
                <a:gd name="connsiteY98" fmla="*/ 4439919 h 4998171"/>
                <a:gd name="connsiteX99" fmla="*/ 1122680 w 4570627"/>
                <a:gd name="connsiteY99" fmla="*/ 4470399 h 4998171"/>
                <a:gd name="connsiteX100" fmla="*/ 1168400 w 4570627"/>
                <a:gd name="connsiteY100" fmla="*/ 4401819 h 4998171"/>
                <a:gd name="connsiteX101" fmla="*/ 1122680 w 4570627"/>
                <a:gd name="connsiteY101" fmla="*/ 4272279 h 4998171"/>
                <a:gd name="connsiteX102" fmla="*/ 1160780 w 4570627"/>
                <a:gd name="connsiteY102" fmla="*/ 4218939 h 4998171"/>
                <a:gd name="connsiteX103" fmla="*/ 1130300 w 4570627"/>
                <a:gd name="connsiteY103" fmla="*/ 4127499 h 4998171"/>
                <a:gd name="connsiteX104" fmla="*/ 1160780 w 4570627"/>
                <a:gd name="connsiteY104" fmla="*/ 3807459 h 4998171"/>
                <a:gd name="connsiteX105" fmla="*/ 1038860 w 4570627"/>
                <a:gd name="connsiteY105" fmla="*/ 3395979 h 4998171"/>
                <a:gd name="connsiteX106" fmla="*/ 1130300 w 4570627"/>
                <a:gd name="connsiteY106" fmla="*/ 3235959 h 4998171"/>
                <a:gd name="connsiteX107" fmla="*/ 1183640 w 4570627"/>
                <a:gd name="connsiteY107" fmla="*/ 3274059 h 4998171"/>
                <a:gd name="connsiteX108" fmla="*/ 1336040 w 4570627"/>
                <a:gd name="connsiteY108" fmla="*/ 3174999 h 4998171"/>
                <a:gd name="connsiteX109" fmla="*/ 1351280 w 4570627"/>
                <a:gd name="connsiteY109" fmla="*/ 3045459 h 4998171"/>
                <a:gd name="connsiteX110" fmla="*/ 1290320 w 4570627"/>
                <a:gd name="connsiteY110" fmla="*/ 2969259 h 4998171"/>
                <a:gd name="connsiteX111" fmla="*/ 1290320 w 4570627"/>
                <a:gd name="connsiteY111" fmla="*/ 2923539 h 4998171"/>
                <a:gd name="connsiteX112" fmla="*/ 1366520 w 4570627"/>
                <a:gd name="connsiteY112" fmla="*/ 2923539 h 4998171"/>
                <a:gd name="connsiteX113" fmla="*/ 1389380 w 4570627"/>
                <a:gd name="connsiteY113" fmla="*/ 2969259 h 4998171"/>
                <a:gd name="connsiteX114" fmla="*/ 1518920 w 4570627"/>
                <a:gd name="connsiteY114" fmla="*/ 2938779 h 4998171"/>
                <a:gd name="connsiteX115" fmla="*/ 1503680 w 4570627"/>
                <a:gd name="connsiteY115" fmla="*/ 2847339 h 4998171"/>
                <a:gd name="connsiteX116" fmla="*/ 1450340 w 4570627"/>
                <a:gd name="connsiteY116" fmla="*/ 2786379 h 4998171"/>
                <a:gd name="connsiteX117" fmla="*/ 1488440 w 4570627"/>
                <a:gd name="connsiteY117" fmla="*/ 2573019 h 4998171"/>
                <a:gd name="connsiteX118" fmla="*/ 1389380 w 4570627"/>
                <a:gd name="connsiteY118" fmla="*/ 2420619 h 4998171"/>
                <a:gd name="connsiteX119" fmla="*/ 1297940 w 4570627"/>
                <a:gd name="connsiteY119" fmla="*/ 2405379 h 4998171"/>
                <a:gd name="connsiteX120" fmla="*/ 1244600 w 4570627"/>
                <a:gd name="connsiteY120" fmla="*/ 2306319 h 4998171"/>
                <a:gd name="connsiteX121" fmla="*/ 1282700 w 4570627"/>
                <a:gd name="connsiteY121" fmla="*/ 2252979 h 4998171"/>
                <a:gd name="connsiteX122" fmla="*/ 1183640 w 4570627"/>
                <a:gd name="connsiteY122" fmla="*/ 2146299 h 4998171"/>
                <a:gd name="connsiteX123" fmla="*/ 1168400 w 4570627"/>
                <a:gd name="connsiteY123" fmla="*/ 2047239 h 4998171"/>
                <a:gd name="connsiteX124" fmla="*/ 1183640 w 4570627"/>
                <a:gd name="connsiteY124" fmla="*/ 2016759 h 4998171"/>
                <a:gd name="connsiteX125" fmla="*/ 1153160 w 4570627"/>
                <a:gd name="connsiteY125" fmla="*/ 1887219 h 4998171"/>
                <a:gd name="connsiteX126" fmla="*/ 1176020 w 4570627"/>
                <a:gd name="connsiteY126" fmla="*/ 1871979 h 4998171"/>
                <a:gd name="connsiteX127" fmla="*/ 1145540 w 4570627"/>
                <a:gd name="connsiteY127" fmla="*/ 1658619 h 4998171"/>
                <a:gd name="connsiteX128" fmla="*/ 1099820 w 4570627"/>
                <a:gd name="connsiteY128" fmla="*/ 1620519 h 4998171"/>
                <a:gd name="connsiteX129" fmla="*/ 1076960 w 4570627"/>
                <a:gd name="connsiteY129" fmla="*/ 1643379 h 4998171"/>
                <a:gd name="connsiteX130" fmla="*/ 1069340 w 4570627"/>
                <a:gd name="connsiteY130" fmla="*/ 1711959 h 4998171"/>
                <a:gd name="connsiteX131" fmla="*/ 970280 w 4570627"/>
                <a:gd name="connsiteY131" fmla="*/ 1719579 h 4998171"/>
                <a:gd name="connsiteX132" fmla="*/ 932180 w 4570627"/>
                <a:gd name="connsiteY132" fmla="*/ 1574799 h 4998171"/>
                <a:gd name="connsiteX133" fmla="*/ 871220 w 4570627"/>
                <a:gd name="connsiteY133" fmla="*/ 1620519 h 4998171"/>
                <a:gd name="connsiteX134" fmla="*/ 855980 w 4570627"/>
                <a:gd name="connsiteY134" fmla="*/ 1574799 h 4998171"/>
                <a:gd name="connsiteX135" fmla="*/ 924560 w 4570627"/>
                <a:gd name="connsiteY135" fmla="*/ 1513839 h 4998171"/>
                <a:gd name="connsiteX136" fmla="*/ 855980 w 4570627"/>
                <a:gd name="connsiteY136" fmla="*/ 1384299 h 4998171"/>
                <a:gd name="connsiteX137" fmla="*/ 825500 w 4570627"/>
                <a:gd name="connsiteY137" fmla="*/ 1330959 h 4998171"/>
                <a:gd name="connsiteX138" fmla="*/ 787400 w 4570627"/>
                <a:gd name="connsiteY138" fmla="*/ 1430019 h 4998171"/>
                <a:gd name="connsiteX139" fmla="*/ 772160 w 4570627"/>
                <a:gd name="connsiteY139" fmla="*/ 1369059 h 4998171"/>
                <a:gd name="connsiteX140" fmla="*/ 688340 w 4570627"/>
                <a:gd name="connsiteY140" fmla="*/ 1422399 h 4998171"/>
                <a:gd name="connsiteX141" fmla="*/ 695960 w 4570627"/>
                <a:gd name="connsiteY141" fmla="*/ 1277619 h 4998171"/>
                <a:gd name="connsiteX142" fmla="*/ 497840 w 4570627"/>
                <a:gd name="connsiteY142" fmla="*/ 1262379 h 4998171"/>
                <a:gd name="connsiteX143" fmla="*/ 353060 w 4570627"/>
                <a:gd name="connsiteY143" fmla="*/ 1315719 h 4998171"/>
                <a:gd name="connsiteX144" fmla="*/ 467360 w 4570627"/>
                <a:gd name="connsiteY144" fmla="*/ 1376679 h 4998171"/>
                <a:gd name="connsiteX145" fmla="*/ 474980 w 4570627"/>
                <a:gd name="connsiteY145" fmla="*/ 1452879 h 4998171"/>
                <a:gd name="connsiteX146" fmla="*/ 391160 w 4570627"/>
                <a:gd name="connsiteY146" fmla="*/ 1452879 h 4998171"/>
                <a:gd name="connsiteX147" fmla="*/ 360680 w 4570627"/>
                <a:gd name="connsiteY147" fmla="*/ 1551939 h 4998171"/>
                <a:gd name="connsiteX148" fmla="*/ 132080 w 4570627"/>
                <a:gd name="connsiteY148" fmla="*/ 1567179 h 4998171"/>
                <a:gd name="connsiteX149" fmla="*/ 69850 w 4570627"/>
                <a:gd name="connsiteY149" fmla="*/ 1533990 h 4998171"/>
                <a:gd name="connsiteX150" fmla="*/ 69850 w 4570627"/>
                <a:gd name="connsiteY150" fmla="*/ 1435099 h 4998171"/>
                <a:gd name="connsiteX151" fmla="*/ 146050 w 4570627"/>
                <a:gd name="connsiteY151" fmla="*/ 1295399 h 4998171"/>
                <a:gd name="connsiteX152" fmla="*/ 82550 w 4570627"/>
                <a:gd name="connsiteY152" fmla="*/ 1193799 h 4998171"/>
                <a:gd name="connsiteX153" fmla="*/ 25400 w 4570627"/>
                <a:gd name="connsiteY153" fmla="*/ 1168399 h 4998171"/>
                <a:gd name="connsiteX154" fmla="*/ 31750 w 4570627"/>
                <a:gd name="connsiteY154" fmla="*/ 952499 h 4998171"/>
                <a:gd name="connsiteX155" fmla="*/ 0 w 4570627"/>
                <a:gd name="connsiteY155" fmla="*/ 876299 h 4998171"/>
                <a:gd name="connsiteX156" fmla="*/ 0 w 4570627"/>
                <a:gd name="connsiteY156" fmla="*/ 774699 h 4998171"/>
                <a:gd name="connsiteX157" fmla="*/ 107950 w 4570627"/>
                <a:gd name="connsiteY157" fmla="*/ 755649 h 4998171"/>
                <a:gd name="connsiteX158" fmla="*/ 127000 w 4570627"/>
                <a:gd name="connsiteY158" fmla="*/ 806449 h 4998171"/>
                <a:gd name="connsiteX159" fmla="*/ 215900 w 4570627"/>
                <a:gd name="connsiteY159" fmla="*/ 749299 h 4998171"/>
                <a:gd name="connsiteX160" fmla="*/ 368300 w 4570627"/>
                <a:gd name="connsiteY160" fmla="*/ 749299 h 4998171"/>
                <a:gd name="connsiteX161" fmla="*/ 368300 w 4570627"/>
                <a:gd name="connsiteY161" fmla="*/ 800099 h 4998171"/>
                <a:gd name="connsiteX162" fmla="*/ 495300 w 4570627"/>
                <a:gd name="connsiteY162" fmla="*/ 800099 h 4998171"/>
                <a:gd name="connsiteX163" fmla="*/ 488950 w 4570627"/>
                <a:gd name="connsiteY163" fmla="*/ 711199 h 4998171"/>
                <a:gd name="connsiteX164" fmla="*/ 488950 w 4570627"/>
                <a:gd name="connsiteY164" fmla="*/ 603249 h 4998171"/>
                <a:gd name="connsiteX165" fmla="*/ 596900 w 4570627"/>
                <a:gd name="connsiteY165" fmla="*/ 615949 h 4998171"/>
                <a:gd name="connsiteX166" fmla="*/ 679450 w 4570627"/>
                <a:gd name="connsiteY166" fmla="*/ 514349 h 4998171"/>
                <a:gd name="connsiteX167" fmla="*/ 717550 w 4570627"/>
                <a:gd name="connsiteY167" fmla="*/ 311149 h 4998171"/>
                <a:gd name="connsiteX168" fmla="*/ 812800 w 4570627"/>
                <a:gd name="connsiteY168" fmla="*/ 361949 h 4998171"/>
                <a:gd name="connsiteX169" fmla="*/ 952500 w 4570627"/>
                <a:gd name="connsiteY169" fmla="*/ 266699 h 4998171"/>
                <a:gd name="connsiteX170" fmla="*/ 979517 w 4570627"/>
                <a:gd name="connsiteY170" fmla="*/ 226176 h 4998171"/>
                <a:gd name="connsiteX171" fmla="*/ 977900 w 4570627"/>
                <a:gd name="connsiteY171" fmla="*/ 273049 h 4998171"/>
                <a:gd name="connsiteX172" fmla="*/ 1060450 w 4570627"/>
                <a:gd name="connsiteY172" fmla="*/ 177799 h 4998171"/>
                <a:gd name="connsiteX173" fmla="*/ 920750 w 4570627"/>
                <a:gd name="connsiteY173" fmla="*/ 57150 h 4998171"/>
                <a:gd name="connsiteX174" fmla="*/ 869950 w 4570627"/>
                <a:gd name="connsiteY174" fmla="*/ 69849 h 4998171"/>
                <a:gd name="connsiteX175" fmla="*/ 920750 w 4570627"/>
                <a:gd name="connsiteY175" fmla="*/ 57149 h 4998171"/>
                <a:gd name="connsiteX176" fmla="*/ 920750 w 4570627"/>
                <a:gd name="connsiteY176" fmla="*/ 57150 h 4998171"/>
                <a:gd name="connsiteX177" fmla="*/ 984250 w 4570627"/>
                <a:gd name="connsiteY177" fmla="*/ 0 h 4998171"/>
                <a:gd name="connsiteX178" fmla="*/ 1022350 w 4570627"/>
                <a:gd name="connsiteY178" fmla="*/ 50799 h 4998171"/>
                <a:gd name="connsiteX179" fmla="*/ 1022350 w 4570627"/>
                <a:gd name="connsiteY179" fmla="*/ 50800 h 4998171"/>
                <a:gd name="connsiteX180" fmla="*/ 984250 w 4570627"/>
                <a:gd name="connsiteY180" fmla="*/ 0 h 4998171"/>
                <a:gd name="connsiteX0" fmla="*/ 555179 w 4570627"/>
                <a:gd name="connsiteY0" fmla="*/ 4618435 h 4947372"/>
                <a:gd name="connsiteX1" fmla="*/ 555179 w 4570627"/>
                <a:gd name="connsiteY1" fmla="*/ 4618435 h 4947372"/>
                <a:gd name="connsiteX2" fmla="*/ 546724 w 4570627"/>
                <a:gd name="connsiteY2" fmla="*/ 4643035 h 4947372"/>
                <a:gd name="connsiteX3" fmla="*/ 546723 w 4570627"/>
                <a:gd name="connsiteY3" fmla="*/ 4643035 h 4947372"/>
                <a:gd name="connsiteX4" fmla="*/ 555179 w 4570627"/>
                <a:gd name="connsiteY4" fmla="*/ 4618435 h 4947372"/>
                <a:gd name="connsiteX5" fmla="*/ 1060450 w 4570627"/>
                <a:gd name="connsiteY5" fmla="*/ 127000 h 4947372"/>
                <a:gd name="connsiteX6" fmla="*/ 1149350 w 4570627"/>
                <a:gd name="connsiteY6" fmla="*/ 165100 h 4947372"/>
                <a:gd name="connsiteX7" fmla="*/ 1263650 w 4570627"/>
                <a:gd name="connsiteY7" fmla="*/ 241300 h 4947372"/>
                <a:gd name="connsiteX8" fmla="*/ 1320800 w 4570627"/>
                <a:gd name="connsiteY8" fmla="*/ 361950 h 4947372"/>
                <a:gd name="connsiteX9" fmla="*/ 1371600 w 4570627"/>
                <a:gd name="connsiteY9" fmla="*/ 342900 h 4947372"/>
                <a:gd name="connsiteX10" fmla="*/ 1479550 w 4570627"/>
                <a:gd name="connsiteY10" fmla="*/ 450850 h 4947372"/>
                <a:gd name="connsiteX11" fmla="*/ 1530350 w 4570627"/>
                <a:gd name="connsiteY11" fmla="*/ 615950 h 4947372"/>
                <a:gd name="connsiteX12" fmla="*/ 1612900 w 4570627"/>
                <a:gd name="connsiteY12" fmla="*/ 660400 h 4947372"/>
                <a:gd name="connsiteX13" fmla="*/ 1638300 w 4570627"/>
                <a:gd name="connsiteY13" fmla="*/ 590550 h 4947372"/>
                <a:gd name="connsiteX14" fmla="*/ 1739900 w 4570627"/>
                <a:gd name="connsiteY14" fmla="*/ 596900 h 4947372"/>
                <a:gd name="connsiteX15" fmla="*/ 1746250 w 4570627"/>
                <a:gd name="connsiteY15" fmla="*/ 546100 h 4947372"/>
                <a:gd name="connsiteX16" fmla="*/ 1689100 w 4570627"/>
                <a:gd name="connsiteY16" fmla="*/ 514350 h 4947372"/>
                <a:gd name="connsiteX17" fmla="*/ 1638300 w 4570627"/>
                <a:gd name="connsiteY17" fmla="*/ 469900 h 4947372"/>
                <a:gd name="connsiteX18" fmla="*/ 1625600 w 4570627"/>
                <a:gd name="connsiteY18" fmla="*/ 419100 h 4947372"/>
                <a:gd name="connsiteX19" fmla="*/ 1778000 w 4570627"/>
                <a:gd name="connsiteY19" fmla="*/ 361950 h 4947372"/>
                <a:gd name="connsiteX20" fmla="*/ 1879600 w 4570627"/>
                <a:gd name="connsiteY20" fmla="*/ 374650 h 4947372"/>
                <a:gd name="connsiteX21" fmla="*/ 1873250 w 4570627"/>
                <a:gd name="connsiteY21" fmla="*/ 438150 h 4947372"/>
                <a:gd name="connsiteX22" fmla="*/ 1981200 w 4570627"/>
                <a:gd name="connsiteY22" fmla="*/ 431800 h 4947372"/>
                <a:gd name="connsiteX23" fmla="*/ 2006600 w 4570627"/>
                <a:gd name="connsiteY23" fmla="*/ 431800 h 4947372"/>
                <a:gd name="connsiteX24" fmla="*/ 2032000 w 4570627"/>
                <a:gd name="connsiteY24" fmla="*/ 533400 h 4947372"/>
                <a:gd name="connsiteX25" fmla="*/ 2133600 w 4570627"/>
                <a:gd name="connsiteY25" fmla="*/ 546100 h 4947372"/>
                <a:gd name="connsiteX26" fmla="*/ 2171700 w 4570627"/>
                <a:gd name="connsiteY26" fmla="*/ 412750 h 4947372"/>
                <a:gd name="connsiteX27" fmla="*/ 2146300 w 4570627"/>
                <a:gd name="connsiteY27" fmla="*/ 273050 h 4947372"/>
                <a:gd name="connsiteX28" fmla="*/ 2216150 w 4570627"/>
                <a:gd name="connsiteY28" fmla="*/ 190500 h 4947372"/>
                <a:gd name="connsiteX29" fmla="*/ 2279650 w 4570627"/>
                <a:gd name="connsiteY29" fmla="*/ 184150 h 4947372"/>
                <a:gd name="connsiteX30" fmla="*/ 2305050 w 4570627"/>
                <a:gd name="connsiteY30" fmla="*/ 279400 h 4947372"/>
                <a:gd name="connsiteX31" fmla="*/ 2374900 w 4570627"/>
                <a:gd name="connsiteY31" fmla="*/ 342900 h 4947372"/>
                <a:gd name="connsiteX32" fmla="*/ 2381250 w 4570627"/>
                <a:gd name="connsiteY32" fmla="*/ 406400 h 4947372"/>
                <a:gd name="connsiteX33" fmla="*/ 2514600 w 4570627"/>
                <a:gd name="connsiteY33" fmla="*/ 355600 h 4947372"/>
                <a:gd name="connsiteX34" fmla="*/ 2641600 w 4570627"/>
                <a:gd name="connsiteY34" fmla="*/ 330200 h 4947372"/>
                <a:gd name="connsiteX35" fmla="*/ 2686050 w 4570627"/>
                <a:gd name="connsiteY35" fmla="*/ 368300 h 4947372"/>
                <a:gd name="connsiteX36" fmla="*/ 2774950 w 4570627"/>
                <a:gd name="connsiteY36" fmla="*/ 317500 h 4947372"/>
                <a:gd name="connsiteX37" fmla="*/ 2796953 w 4570627"/>
                <a:gd name="connsiteY37" fmla="*/ 319596 h 4947372"/>
                <a:gd name="connsiteX38" fmla="*/ 2787650 w 4570627"/>
                <a:gd name="connsiteY38" fmla="*/ 298452 h 4947372"/>
                <a:gd name="connsiteX39" fmla="*/ 2857500 w 4570627"/>
                <a:gd name="connsiteY39" fmla="*/ 457201 h 4947372"/>
                <a:gd name="connsiteX40" fmla="*/ 2971800 w 4570627"/>
                <a:gd name="connsiteY40" fmla="*/ 482601 h 4947372"/>
                <a:gd name="connsiteX41" fmla="*/ 3054350 w 4570627"/>
                <a:gd name="connsiteY41" fmla="*/ 501651 h 4947372"/>
                <a:gd name="connsiteX42" fmla="*/ 3093057 w 4570627"/>
                <a:gd name="connsiteY42" fmla="*/ 656481 h 4947372"/>
                <a:gd name="connsiteX43" fmla="*/ 3011086 w 4570627"/>
                <a:gd name="connsiteY43" fmla="*/ 537623 h 4947372"/>
                <a:gd name="connsiteX44" fmla="*/ 2924805 w 4570627"/>
                <a:gd name="connsiteY44" fmla="*/ 623904 h 4947372"/>
                <a:gd name="connsiteX45" fmla="*/ 3026774 w 4570627"/>
                <a:gd name="connsiteY45" fmla="*/ 733716 h 4947372"/>
                <a:gd name="connsiteX46" fmla="*/ 3050305 w 4570627"/>
                <a:gd name="connsiteY46" fmla="*/ 906278 h 4947372"/>
                <a:gd name="connsiteX47" fmla="*/ 3348367 w 4570627"/>
                <a:gd name="connsiteY47" fmla="*/ 1078841 h 4947372"/>
                <a:gd name="connsiteX48" fmla="*/ 3411117 w 4570627"/>
                <a:gd name="connsiteY48" fmla="*/ 1188653 h 4947372"/>
                <a:gd name="connsiteX49" fmla="*/ 3262086 w 4570627"/>
                <a:gd name="connsiteY49" fmla="*/ 1369059 h 4947372"/>
                <a:gd name="connsiteX50" fmla="*/ 3395429 w 4570627"/>
                <a:gd name="connsiteY50" fmla="*/ 1612215 h 4947372"/>
                <a:gd name="connsiteX51" fmla="*/ 3489554 w 4570627"/>
                <a:gd name="connsiteY51" fmla="*/ 1894589 h 4947372"/>
                <a:gd name="connsiteX52" fmla="*/ 3638585 w 4570627"/>
                <a:gd name="connsiteY52" fmla="*/ 2059308 h 4947372"/>
                <a:gd name="connsiteX53" fmla="*/ 3756241 w 4570627"/>
                <a:gd name="connsiteY53" fmla="*/ 1965183 h 4947372"/>
                <a:gd name="connsiteX54" fmla="*/ 3905271 w 4570627"/>
                <a:gd name="connsiteY54" fmla="*/ 2208339 h 4947372"/>
                <a:gd name="connsiteX55" fmla="*/ 4007240 w 4570627"/>
                <a:gd name="connsiteY55" fmla="*/ 2325995 h 4947372"/>
                <a:gd name="connsiteX56" fmla="*/ 4124896 w 4570627"/>
                <a:gd name="connsiteY56" fmla="*/ 2325995 h 4947372"/>
                <a:gd name="connsiteX57" fmla="*/ 4328833 w 4570627"/>
                <a:gd name="connsiteY57" fmla="*/ 2608369 h 4947372"/>
                <a:gd name="connsiteX58" fmla="*/ 4446489 w 4570627"/>
                <a:gd name="connsiteY58" fmla="*/ 2592682 h 4947372"/>
                <a:gd name="connsiteX59" fmla="*/ 4564145 w 4570627"/>
                <a:gd name="connsiteY59" fmla="*/ 2718182 h 4947372"/>
                <a:gd name="connsiteX60" fmla="*/ 4570627 w 4570627"/>
                <a:gd name="connsiteY60" fmla="*/ 2728182 h 4947372"/>
                <a:gd name="connsiteX61" fmla="*/ 4493946 w 4570627"/>
                <a:gd name="connsiteY61" fmla="*/ 3096250 h 4947372"/>
                <a:gd name="connsiteX62" fmla="*/ 4274322 w 4570627"/>
                <a:gd name="connsiteY62" fmla="*/ 3111937 h 4947372"/>
                <a:gd name="connsiteX63" fmla="*/ 4180197 w 4570627"/>
                <a:gd name="connsiteY63" fmla="*/ 3441374 h 4947372"/>
                <a:gd name="connsiteX64" fmla="*/ 3819386 w 4570627"/>
                <a:gd name="connsiteY64" fmla="*/ 3566874 h 4947372"/>
                <a:gd name="connsiteX65" fmla="*/ 3552699 w 4570627"/>
                <a:gd name="connsiteY65" fmla="*/ 3723749 h 4947372"/>
                <a:gd name="connsiteX66" fmla="*/ 3552699 w 4570627"/>
                <a:gd name="connsiteY66" fmla="*/ 3833561 h 4947372"/>
                <a:gd name="connsiteX67" fmla="*/ 3788011 w 4570627"/>
                <a:gd name="connsiteY67" fmla="*/ 4037498 h 4947372"/>
                <a:gd name="connsiteX68" fmla="*/ 3772323 w 4570627"/>
                <a:gd name="connsiteY68" fmla="*/ 4257123 h 4947372"/>
                <a:gd name="connsiteX69" fmla="*/ 3866448 w 4570627"/>
                <a:gd name="connsiteY69" fmla="*/ 4366935 h 4947372"/>
                <a:gd name="connsiteX70" fmla="*/ 3897823 w 4570627"/>
                <a:gd name="connsiteY70" fmla="*/ 4602248 h 4947372"/>
                <a:gd name="connsiteX71" fmla="*/ 3819386 w 4570627"/>
                <a:gd name="connsiteY71" fmla="*/ 4712060 h 4947372"/>
                <a:gd name="connsiteX72" fmla="*/ 3662511 w 4570627"/>
                <a:gd name="connsiteY72" fmla="*/ 4633622 h 4947372"/>
                <a:gd name="connsiteX73" fmla="*/ 3615449 w 4570627"/>
                <a:gd name="connsiteY73" fmla="*/ 4555185 h 4947372"/>
                <a:gd name="connsiteX74" fmla="*/ 3615449 w 4570627"/>
                <a:gd name="connsiteY74" fmla="*/ 4413998 h 4947372"/>
                <a:gd name="connsiteX75" fmla="*/ 3458574 w 4570627"/>
                <a:gd name="connsiteY75" fmla="*/ 4351248 h 4947372"/>
                <a:gd name="connsiteX76" fmla="*/ 3395824 w 4570627"/>
                <a:gd name="connsiteY76" fmla="*/ 4476748 h 4947372"/>
                <a:gd name="connsiteX77" fmla="*/ 3160513 w 4570627"/>
                <a:gd name="connsiteY77" fmla="*/ 4398310 h 4947372"/>
                <a:gd name="connsiteX78" fmla="*/ 3144825 w 4570627"/>
                <a:gd name="connsiteY78" fmla="*/ 4335560 h 4947372"/>
                <a:gd name="connsiteX79" fmla="*/ 2940888 w 4570627"/>
                <a:gd name="connsiteY79" fmla="*/ 4413998 h 4947372"/>
                <a:gd name="connsiteX80" fmla="*/ 2831076 w 4570627"/>
                <a:gd name="connsiteY80" fmla="*/ 4523810 h 4947372"/>
                <a:gd name="connsiteX81" fmla="*/ 2564389 w 4570627"/>
                <a:gd name="connsiteY81" fmla="*/ 4555185 h 4947372"/>
                <a:gd name="connsiteX82" fmla="*/ 2329077 w 4570627"/>
                <a:gd name="connsiteY82" fmla="*/ 4570873 h 4947372"/>
                <a:gd name="connsiteX83" fmla="*/ 2125140 w 4570627"/>
                <a:gd name="connsiteY83" fmla="*/ 4759122 h 4947372"/>
                <a:gd name="connsiteX84" fmla="*/ 1936891 w 4570627"/>
                <a:gd name="connsiteY84" fmla="*/ 4806185 h 4947372"/>
                <a:gd name="connsiteX85" fmla="*/ 1717266 w 4570627"/>
                <a:gd name="connsiteY85" fmla="*/ 4696372 h 4947372"/>
                <a:gd name="connsiteX86" fmla="*/ 1701579 w 4570627"/>
                <a:gd name="connsiteY86" fmla="*/ 4570873 h 4947372"/>
                <a:gd name="connsiteX87" fmla="*/ 1576079 w 4570627"/>
                <a:gd name="connsiteY87" fmla="*/ 4523810 h 4947372"/>
                <a:gd name="connsiteX88" fmla="*/ 1419205 w 4570627"/>
                <a:gd name="connsiteY88" fmla="*/ 4523810 h 4947372"/>
                <a:gd name="connsiteX89" fmla="*/ 1340768 w 4570627"/>
                <a:gd name="connsiteY89" fmla="*/ 4617935 h 4947372"/>
                <a:gd name="connsiteX90" fmla="*/ 1309393 w 4570627"/>
                <a:gd name="connsiteY90" fmla="*/ 4774810 h 4947372"/>
                <a:gd name="connsiteX91" fmla="*/ 1246643 w 4570627"/>
                <a:gd name="connsiteY91" fmla="*/ 4868935 h 4947372"/>
                <a:gd name="connsiteX92" fmla="*/ 1152518 w 4570627"/>
                <a:gd name="connsiteY92" fmla="*/ 4947372 h 4947372"/>
                <a:gd name="connsiteX93" fmla="*/ 964268 w 4570627"/>
                <a:gd name="connsiteY93" fmla="*/ 4900310 h 4947372"/>
                <a:gd name="connsiteX94" fmla="*/ 948581 w 4570627"/>
                <a:gd name="connsiteY94" fmla="*/ 4633622 h 4947372"/>
                <a:gd name="connsiteX95" fmla="*/ 807394 w 4570627"/>
                <a:gd name="connsiteY95" fmla="*/ 4539498 h 4947372"/>
                <a:gd name="connsiteX96" fmla="*/ 773692 w 4570627"/>
                <a:gd name="connsiteY96" fmla="*/ 4539498 h 4947372"/>
                <a:gd name="connsiteX97" fmla="*/ 802640 w 4570627"/>
                <a:gd name="connsiteY97" fmla="*/ 4488180 h 4947372"/>
                <a:gd name="connsiteX98" fmla="*/ 894080 w 4570627"/>
                <a:gd name="connsiteY98" fmla="*/ 4389120 h 4947372"/>
                <a:gd name="connsiteX99" fmla="*/ 1122680 w 4570627"/>
                <a:gd name="connsiteY99" fmla="*/ 4419600 h 4947372"/>
                <a:gd name="connsiteX100" fmla="*/ 1168400 w 4570627"/>
                <a:gd name="connsiteY100" fmla="*/ 4351020 h 4947372"/>
                <a:gd name="connsiteX101" fmla="*/ 1122680 w 4570627"/>
                <a:gd name="connsiteY101" fmla="*/ 4221480 h 4947372"/>
                <a:gd name="connsiteX102" fmla="*/ 1160780 w 4570627"/>
                <a:gd name="connsiteY102" fmla="*/ 4168140 h 4947372"/>
                <a:gd name="connsiteX103" fmla="*/ 1130300 w 4570627"/>
                <a:gd name="connsiteY103" fmla="*/ 4076700 h 4947372"/>
                <a:gd name="connsiteX104" fmla="*/ 1160780 w 4570627"/>
                <a:gd name="connsiteY104" fmla="*/ 3756660 h 4947372"/>
                <a:gd name="connsiteX105" fmla="*/ 1038860 w 4570627"/>
                <a:gd name="connsiteY105" fmla="*/ 3345180 h 4947372"/>
                <a:gd name="connsiteX106" fmla="*/ 1130300 w 4570627"/>
                <a:gd name="connsiteY106" fmla="*/ 3185160 h 4947372"/>
                <a:gd name="connsiteX107" fmla="*/ 1183640 w 4570627"/>
                <a:gd name="connsiteY107" fmla="*/ 3223260 h 4947372"/>
                <a:gd name="connsiteX108" fmla="*/ 1336040 w 4570627"/>
                <a:gd name="connsiteY108" fmla="*/ 3124200 h 4947372"/>
                <a:gd name="connsiteX109" fmla="*/ 1351280 w 4570627"/>
                <a:gd name="connsiteY109" fmla="*/ 2994660 h 4947372"/>
                <a:gd name="connsiteX110" fmla="*/ 1290320 w 4570627"/>
                <a:gd name="connsiteY110" fmla="*/ 2918460 h 4947372"/>
                <a:gd name="connsiteX111" fmla="*/ 1290320 w 4570627"/>
                <a:gd name="connsiteY111" fmla="*/ 2872740 h 4947372"/>
                <a:gd name="connsiteX112" fmla="*/ 1366520 w 4570627"/>
                <a:gd name="connsiteY112" fmla="*/ 2872740 h 4947372"/>
                <a:gd name="connsiteX113" fmla="*/ 1389380 w 4570627"/>
                <a:gd name="connsiteY113" fmla="*/ 2918460 h 4947372"/>
                <a:gd name="connsiteX114" fmla="*/ 1518920 w 4570627"/>
                <a:gd name="connsiteY114" fmla="*/ 2887980 h 4947372"/>
                <a:gd name="connsiteX115" fmla="*/ 1503680 w 4570627"/>
                <a:gd name="connsiteY115" fmla="*/ 2796540 h 4947372"/>
                <a:gd name="connsiteX116" fmla="*/ 1450340 w 4570627"/>
                <a:gd name="connsiteY116" fmla="*/ 2735580 h 4947372"/>
                <a:gd name="connsiteX117" fmla="*/ 1488440 w 4570627"/>
                <a:gd name="connsiteY117" fmla="*/ 2522220 h 4947372"/>
                <a:gd name="connsiteX118" fmla="*/ 1389380 w 4570627"/>
                <a:gd name="connsiteY118" fmla="*/ 2369820 h 4947372"/>
                <a:gd name="connsiteX119" fmla="*/ 1297940 w 4570627"/>
                <a:gd name="connsiteY119" fmla="*/ 2354580 h 4947372"/>
                <a:gd name="connsiteX120" fmla="*/ 1244600 w 4570627"/>
                <a:gd name="connsiteY120" fmla="*/ 2255520 h 4947372"/>
                <a:gd name="connsiteX121" fmla="*/ 1282700 w 4570627"/>
                <a:gd name="connsiteY121" fmla="*/ 2202180 h 4947372"/>
                <a:gd name="connsiteX122" fmla="*/ 1183640 w 4570627"/>
                <a:gd name="connsiteY122" fmla="*/ 2095500 h 4947372"/>
                <a:gd name="connsiteX123" fmla="*/ 1168400 w 4570627"/>
                <a:gd name="connsiteY123" fmla="*/ 1996440 h 4947372"/>
                <a:gd name="connsiteX124" fmla="*/ 1183640 w 4570627"/>
                <a:gd name="connsiteY124" fmla="*/ 1965960 h 4947372"/>
                <a:gd name="connsiteX125" fmla="*/ 1153160 w 4570627"/>
                <a:gd name="connsiteY125" fmla="*/ 1836420 h 4947372"/>
                <a:gd name="connsiteX126" fmla="*/ 1176020 w 4570627"/>
                <a:gd name="connsiteY126" fmla="*/ 1821180 h 4947372"/>
                <a:gd name="connsiteX127" fmla="*/ 1145540 w 4570627"/>
                <a:gd name="connsiteY127" fmla="*/ 1607820 h 4947372"/>
                <a:gd name="connsiteX128" fmla="*/ 1099820 w 4570627"/>
                <a:gd name="connsiteY128" fmla="*/ 1569720 h 4947372"/>
                <a:gd name="connsiteX129" fmla="*/ 1076960 w 4570627"/>
                <a:gd name="connsiteY129" fmla="*/ 1592580 h 4947372"/>
                <a:gd name="connsiteX130" fmla="*/ 1069340 w 4570627"/>
                <a:gd name="connsiteY130" fmla="*/ 1661160 h 4947372"/>
                <a:gd name="connsiteX131" fmla="*/ 970280 w 4570627"/>
                <a:gd name="connsiteY131" fmla="*/ 1668780 h 4947372"/>
                <a:gd name="connsiteX132" fmla="*/ 932180 w 4570627"/>
                <a:gd name="connsiteY132" fmla="*/ 1524000 h 4947372"/>
                <a:gd name="connsiteX133" fmla="*/ 871220 w 4570627"/>
                <a:gd name="connsiteY133" fmla="*/ 1569720 h 4947372"/>
                <a:gd name="connsiteX134" fmla="*/ 855980 w 4570627"/>
                <a:gd name="connsiteY134" fmla="*/ 1524000 h 4947372"/>
                <a:gd name="connsiteX135" fmla="*/ 924560 w 4570627"/>
                <a:gd name="connsiteY135" fmla="*/ 1463040 h 4947372"/>
                <a:gd name="connsiteX136" fmla="*/ 855980 w 4570627"/>
                <a:gd name="connsiteY136" fmla="*/ 1333500 h 4947372"/>
                <a:gd name="connsiteX137" fmla="*/ 825500 w 4570627"/>
                <a:gd name="connsiteY137" fmla="*/ 1280160 h 4947372"/>
                <a:gd name="connsiteX138" fmla="*/ 787400 w 4570627"/>
                <a:gd name="connsiteY138" fmla="*/ 1379220 h 4947372"/>
                <a:gd name="connsiteX139" fmla="*/ 772160 w 4570627"/>
                <a:gd name="connsiteY139" fmla="*/ 1318260 h 4947372"/>
                <a:gd name="connsiteX140" fmla="*/ 688340 w 4570627"/>
                <a:gd name="connsiteY140" fmla="*/ 1371600 h 4947372"/>
                <a:gd name="connsiteX141" fmla="*/ 695960 w 4570627"/>
                <a:gd name="connsiteY141" fmla="*/ 1226820 h 4947372"/>
                <a:gd name="connsiteX142" fmla="*/ 497840 w 4570627"/>
                <a:gd name="connsiteY142" fmla="*/ 1211580 h 4947372"/>
                <a:gd name="connsiteX143" fmla="*/ 353060 w 4570627"/>
                <a:gd name="connsiteY143" fmla="*/ 1264920 h 4947372"/>
                <a:gd name="connsiteX144" fmla="*/ 467360 w 4570627"/>
                <a:gd name="connsiteY144" fmla="*/ 1325880 h 4947372"/>
                <a:gd name="connsiteX145" fmla="*/ 474980 w 4570627"/>
                <a:gd name="connsiteY145" fmla="*/ 1402080 h 4947372"/>
                <a:gd name="connsiteX146" fmla="*/ 391160 w 4570627"/>
                <a:gd name="connsiteY146" fmla="*/ 1402080 h 4947372"/>
                <a:gd name="connsiteX147" fmla="*/ 360680 w 4570627"/>
                <a:gd name="connsiteY147" fmla="*/ 1501140 h 4947372"/>
                <a:gd name="connsiteX148" fmla="*/ 132080 w 4570627"/>
                <a:gd name="connsiteY148" fmla="*/ 1516380 h 4947372"/>
                <a:gd name="connsiteX149" fmla="*/ 69850 w 4570627"/>
                <a:gd name="connsiteY149" fmla="*/ 1483191 h 4947372"/>
                <a:gd name="connsiteX150" fmla="*/ 69850 w 4570627"/>
                <a:gd name="connsiteY150" fmla="*/ 1384300 h 4947372"/>
                <a:gd name="connsiteX151" fmla="*/ 146050 w 4570627"/>
                <a:gd name="connsiteY151" fmla="*/ 1244600 h 4947372"/>
                <a:gd name="connsiteX152" fmla="*/ 82550 w 4570627"/>
                <a:gd name="connsiteY152" fmla="*/ 1143000 h 4947372"/>
                <a:gd name="connsiteX153" fmla="*/ 25400 w 4570627"/>
                <a:gd name="connsiteY153" fmla="*/ 1117600 h 4947372"/>
                <a:gd name="connsiteX154" fmla="*/ 31750 w 4570627"/>
                <a:gd name="connsiteY154" fmla="*/ 901700 h 4947372"/>
                <a:gd name="connsiteX155" fmla="*/ 0 w 4570627"/>
                <a:gd name="connsiteY155" fmla="*/ 825500 h 4947372"/>
                <a:gd name="connsiteX156" fmla="*/ 0 w 4570627"/>
                <a:gd name="connsiteY156" fmla="*/ 723900 h 4947372"/>
                <a:gd name="connsiteX157" fmla="*/ 107950 w 4570627"/>
                <a:gd name="connsiteY157" fmla="*/ 704850 h 4947372"/>
                <a:gd name="connsiteX158" fmla="*/ 127000 w 4570627"/>
                <a:gd name="connsiteY158" fmla="*/ 755650 h 4947372"/>
                <a:gd name="connsiteX159" fmla="*/ 215900 w 4570627"/>
                <a:gd name="connsiteY159" fmla="*/ 698500 h 4947372"/>
                <a:gd name="connsiteX160" fmla="*/ 368300 w 4570627"/>
                <a:gd name="connsiteY160" fmla="*/ 698500 h 4947372"/>
                <a:gd name="connsiteX161" fmla="*/ 368300 w 4570627"/>
                <a:gd name="connsiteY161" fmla="*/ 749300 h 4947372"/>
                <a:gd name="connsiteX162" fmla="*/ 495300 w 4570627"/>
                <a:gd name="connsiteY162" fmla="*/ 749300 h 4947372"/>
                <a:gd name="connsiteX163" fmla="*/ 488950 w 4570627"/>
                <a:gd name="connsiteY163" fmla="*/ 660400 h 4947372"/>
                <a:gd name="connsiteX164" fmla="*/ 488950 w 4570627"/>
                <a:gd name="connsiteY164" fmla="*/ 552450 h 4947372"/>
                <a:gd name="connsiteX165" fmla="*/ 596900 w 4570627"/>
                <a:gd name="connsiteY165" fmla="*/ 565150 h 4947372"/>
                <a:gd name="connsiteX166" fmla="*/ 679450 w 4570627"/>
                <a:gd name="connsiteY166" fmla="*/ 463550 h 4947372"/>
                <a:gd name="connsiteX167" fmla="*/ 717550 w 4570627"/>
                <a:gd name="connsiteY167" fmla="*/ 260350 h 4947372"/>
                <a:gd name="connsiteX168" fmla="*/ 812800 w 4570627"/>
                <a:gd name="connsiteY168" fmla="*/ 311150 h 4947372"/>
                <a:gd name="connsiteX169" fmla="*/ 952500 w 4570627"/>
                <a:gd name="connsiteY169" fmla="*/ 215900 h 4947372"/>
                <a:gd name="connsiteX170" fmla="*/ 979517 w 4570627"/>
                <a:gd name="connsiteY170" fmla="*/ 175377 h 4947372"/>
                <a:gd name="connsiteX171" fmla="*/ 977900 w 4570627"/>
                <a:gd name="connsiteY171" fmla="*/ 222250 h 4947372"/>
                <a:gd name="connsiteX172" fmla="*/ 1060450 w 4570627"/>
                <a:gd name="connsiteY172" fmla="*/ 127000 h 4947372"/>
                <a:gd name="connsiteX173" fmla="*/ 920750 w 4570627"/>
                <a:gd name="connsiteY173" fmla="*/ 6351 h 4947372"/>
                <a:gd name="connsiteX174" fmla="*/ 869950 w 4570627"/>
                <a:gd name="connsiteY174" fmla="*/ 19050 h 4947372"/>
                <a:gd name="connsiteX175" fmla="*/ 920750 w 4570627"/>
                <a:gd name="connsiteY175" fmla="*/ 6350 h 4947372"/>
                <a:gd name="connsiteX176" fmla="*/ 920750 w 4570627"/>
                <a:gd name="connsiteY176" fmla="*/ 6351 h 4947372"/>
                <a:gd name="connsiteX177" fmla="*/ 1022350 w 4570627"/>
                <a:gd name="connsiteY177" fmla="*/ 1 h 4947372"/>
                <a:gd name="connsiteX178" fmla="*/ 1022350 w 4570627"/>
                <a:gd name="connsiteY178" fmla="*/ 0 h 4947372"/>
                <a:gd name="connsiteX179" fmla="*/ 1022350 w 4570627"/>
                <a:gd name="connsiteY179" fmla="*/ 1 h 4947372"/>
                <a:gd name="connsiteX0" fmla="*/ 555179 w 4570627"/>
                <a:gd name="connsiteY0" fmla="*/ 4618435 h 4947372"/>
                <a:gd name="connsiteX1" fmla="*/ 555179 w 4570627"/>
                <a:gd name="connsiteY1" fmla="*/ 4618435 h 4947372"/>
                <a:gd name="connsiteX2" fmla="*/ 546724 w 4570627"/>
                <a:gd name="connsiteY2" fmla="*/ 4643035 h 4947372"/>
                <a:gd name="connsiteX3" fmla="*/ 546723 w 4570627"/>
                <a:gd name="connsiteY3" fmla="*/ 4643035 h 4947372"/>
                <a:gd name="connsiteX4" fmla="*/ 555179 w 4570627"/>
                <a:gd name="connsiteY4" fmla="*/ 4618435 h 4947372"/>
                <a:gd name="connsiteX5" fmla="*/ 1060450 w 4570627"/>
                <a:gd name="connsiteY5" fmla="*/ 127000 h 4947372"/>
                <a:gd name="connsiteX6" fmla="*/ 1149350 w 4570627"/>
                <a:gd name="connsiteY6" fmla="*/ 165100 h 4947372"/>
                <a:gd name="connsiteX7" fmla="*/ 1263650 w 4570627"/>
                <a:gd name="connsiteY7" fmla="*/ 241300 h 4947372"/>
                <a:gd name="connsiteX8" fmla="*/ 1320800 w 4570627"/>
                <a:gd name="connsiteY8" fmla="*/ 361950 h 4947372"/>
                <a:gd name="connsiteX9" fmla="*/ 1371600 w 4570627"/>
                <a:gd name="connsiteY9" fmla="*/ 342900 h 4947372"/>
                <a:gd name="connsiteX10" fmla="*/ 1479550 w 4570627"/>
                <a:gd name="connsiteY10" fmla="*/ 450850 h 4947372"/>
                <a:gd name="connsiteX11" fmla="*/ 1530350 w 4570627"/>
                <a:gd name="connsiteY11" fmla="*/ 615950 h 4947372"/>
                <a:gd name="connsiteX12" fmla="*/ 1612900 w 4570627"/>
                <a:gd name="connsiteY12" fmla="*/ 660400 h 4947372"/>
                <a:gd name="connsiteX13" fmla="*/ 1638300 w 4570627"/>
                <a:gd name="connsiteY13" fmla="*/ 590550 h 4947372"/>
                <a:gd name="connsiteX14" fmla="*/ 1739900 w 4570627"/>
                <a:gd name="connsiteY14" fmla="*/ 596900 h 4947372"/>
                <a:gd name="connsiteX15" fmla="*/ 1746250 w 4570627"/>
                <a:gd name="connsiteY15" fmla="*/ 546100 h 4947372"/>
                <a:gd name="connsiteX16" fmla="*/ 1689100 w 4570627"/>
                <a:gd name="connsiteY16" fmla="*/ 514350 h 4947372"/>
                <a:gd name="connsiteX17" fmla="*/ 1638300 w 4570627"/>
                <a:gd name="connsiteY17" fmla="*/ 469900 h 4947372"/>
                <a:gd name="connsiteX18" fmla="*/ 1625600 w 4570627"/>
                <a:gd name="connsiteY18" fmla="*/ 419100 h 4947372"/>
                <a:gd name="connsiteX19" fmla="*/ 1778000 w 4570627"/>
                <a:gd name="connsiteY19" fmla="*/ 361950 h 4947372"/>
                <a:gd name="connsiteX20" fmla="*/ 1879600 w 4570627"/>
                <a:gd name="connsiteY20" fmla="*/ 374650 h 4947372"/>
                <a:gd name="connsiteX21" fmla="*/ 1873250 w 4570627"/>
                <a:gd name="connsiteY21" fmla="*/ 438150 h 4947372"/>
                <a:gd name="connsiteX22" fmla="*/ 1981200 w 4570627"/>
                <a:gd name="connsiteY22" fmla="*/ 431800 h 4947372"/>
                <a:gd name="connsiteX23" fmla="*/ 2006600 w 4570627"/>
                <a:gd name="connsiteY23" fmla="*/ 431800 h 4947372"/>
                <a:gd name="connsiteX24" fmla="*/ 2032000 w 4570627"/>
                <a:gd name="connsiteY24" fmla="*/ 533400 h 4947372"/>
                <a:gd name="connsiteX25" fmla="*/ 2133600 w 4570627"/>
                <a:gd name="connsiteY25" fmla="*/ 546100 h 4947372"/>
                <a:gd name="connsiteX26" fmla="*/ 2171700 w 4570627"/>
                <a:gd name="connsiteY26" fmla="*/ 412750 h 4947372"/>
                <a:gd name="connsiteX27" fmla="*/ 2146300 w 4570627"/>
                <a:gd name="connsiteY27" fmla="*/ 273050 h 4947372"/>
                <a:gd name="connsiteX28" fmla="*/ 2216150 w 4570627"/>
                <a:gd name="connsiteY28" fmla="*/ 190500 h 4947372"/>
                <a:gd name="connsiteX29" fmla="*/ 2279650 w 4570627"/>
                <a:gd name="connsiteY29" fmla="*/ 184150 h 4947372"/>
                <a:gd name="connsiteX30" fmla="*/ 2305050 w 4570627"/>
                <a:gd name="connsiteY30" fmla="*/ 279400 h 4947372"/>
                <a:gd name="connsiteX31" fmla="*/ 2374900 w 4570627"/>
                <a:gd name="connsiteY31" fmla="*/ 342900 h 4947372"/>
                <a:gd name="connsiteX32" fmla="*/ 2381250 w 4570627"/>
                <a:gd name="connsiteY32" fmla="*/ 406400 h 4947372"/>
                <a:gd name="connsiteX33" fmla="*/ 2514600 w 4570627"/>
                <a:gd name="connsiteY33" fmla="*/ 355600 h 4947372"/>
                <a:gd name="connsiteX34" fmla="*/ 2641600 w 4570627"/>
                <a:gd name="connsiteY34" fmla="*/ 330200 h 4947372"/>
                <a:gd name="connsiteX35" fmla="*/ 2686050 w 4570627"/>
                <a:gd name="connsiteY35" fmla="*/ 368300 h 4947372"/>
                <a:gd name="connsiteX36" fmla="*/ 2774950 w 4570627"/>
                <a:gd name="connsiteY36" fmla="*/ 317500 h 4947372"/>
                <a:gd name="connsiteX37" fmla="*/ 2796953 w 4570627"/>
                <a:gd name="connsiteY37" fmla="*/ 319596 h 4947372"/>
                <a:gd name="connsiteX38" fmla="*/ 2787650 w 4570627"/>
                <a:gd name="connsiteY38" fmla="*/ 298452 h 4947372"/>
                <a:gd name="connsiteX39" fmla="*/ 2857500 w 4570627"/>
                <a:gd name="connsiteY39" fmla="*/ 457201 h 4947372"/>
                <a:gd name="connsiteX40" fmla="*/ 2971800 w 4570627"/>
                <a:gd name="connsiteY40" fmla="*/ 482601 h 4947372"/>
                <a:gd name="connsiteX41" fmla="*/ 3054350 w 4570627"/>
                <a:gd name="connsiteY41" fmla="*/ 501651 h 4947372"/>
                <a:gd name="connsiteX42" fmla="*/ 3093057 w 4570627"/>
                <a:gd name="connsiteY42" fmla="*/ 656481 h 4947372"/>
                <a:gd name="connsiteX43" fmla="*/ 3011086 w 4570627"/>
                <a:gd name="connsiteY43" fmla="*/ 537623 h 4947372"/>
                <a:gd name="connsiteX44" fmla="*/ 2924805 w 4570627"/>
                <a:gd name="connsiteY44" fmla="*/ 623904 h 4947372"/>
                <a:gd name="connsiteX45" fmla="*/ 3026774 w 4570627"/>
                <a:gd name="connsiteY45" fmla="*/ 733716 h 4947372"/>
                <a:gd name="connsiteX46" fmla="*/ 3050305 w 4570627"/>
                <a:gd name="connsiteY46" fmla="*/ 906278 h 4947372"/>
                <a:gd name="connsiteX47" fmla="*/ 3348367 w 4570627"/>
                <a:gd name="connsiteY47" fmla="*/ 1078841 h 4947372"/>
                <a:gd name="connsiteX48" fmla="*/ 3411117 w 4570627"/>
                <a:gd name="connsiteY48" fmla="*/ 1188653 h 4947372"/>
                <a:gd name="connsiteX49" fmla="*/ 3262086 w 4570627"/>
                <a:gd name="connsiteY49" fmla="*/ 1369059 h 4947372"/>
                <a:gd name="connsiteX50" fmla="*/ 3395429 w 4570627"/>
                <a:gd name="connsiteY50" fmla="*/ 1612215 h 4947372"/>
                <a:gd name="connsiteX51" fmla="*/ 3489554 w 4570627"/>
                <a:gd name="connsiteY51" fmla="*/ 1894589 h 4947372"/>
                <a:gd name="connsiteX52" fmla="*/ 3638585 w 4570627"/>
                <a:gd name="connsiteY52" fmla="*/ 2059308 h 4947372"/>
                <a:gd name="connsiteX53" fmla="*/ 3756241 w 4570627"/>
                <a:gd name="connsiteY53" fmla="*/ 1965183 h 4947372"/>
                <a:gd name="connsiteX54" fmla="*/ 3905271 w 4570627"/>
                <a:gd name="connsiteY54" fmla="*/ 2208339 h 4947372"/>
                <a:gd name="connsiteX55" fmla="*/ 4007240 w 4570627"/>
                <a:gd name="connsiteY55" fmla="*/ 2325995 h 4947372"/>
                <a:gd name="connsiteX56" fmla="*/ 4124896 w 4570627"/>
                <a:gd name="connsiteY56" fmla="*/ 2325995 h 4947372"/>
                <a:gd name="connsiteX57" fmla="*/ 4328833 w 4570627"/>
                <a:gd name="connsiteY57" fmla="*/ 2608369 h 4947372"/>
                <a:gd name="connsiteX58" fmla="*/ 4446489 w 4570627"/>
                <a:gd name="connsiteY58" fmla="*/ 2592682 h 4947372"/>
                <a:gd name="connsiteX59" fmla="*/ 4564145 w 4570627"/>
                <a:gd name="connsiteY59" fmla="*/ 2718182 h 4947372"/>
                <a:gd name="connsiteX60" fmla="*/ 4570627 w 4570627"/>
                <a:gd name="connsiteY60" fmla="*/ 2728182 h 4947372"/>
                <a:gd name="connsiteX61" fmla="*/ 4493946 w 4570627"/>
                <a:gd name="connsiteY61" fmla="*/ 3096250 h 4947372"/>
                <a:gd name="connsiteX62" fmla="*/ 4274322 w 4570627"/>
                <a:gd name="connsiteY62" fmla="*/ 3111937 h 4947372"/>
                <a:gd name="connsiteX63" fmla="*/ 4180197 w 4570627"/>
                <a:gd name="connsiteY63" fmla="*/ 3441374 h 4947372"/>
                <a:gd name="connsiteX64" fmla="*/ 3819386 w 4570627"/>
                <a:gd name="connsiteY64" fmla="*/ 3566874 h 4947372"/>
                <a:gd name="connsiteX65" fmla="*/ 3552699 w 4570627"/>
                <a:gd name="connsiteY65" fmla="*/ 3723749 h 4947372"/>
                <a:gd name="connsiteX66" fmla="*/ 3552699 w 4570627"/>
                <a:gd name="connsiteY66" fmla="*/ 3833561 h 4947372"/>
                <a:gd name="connsiteX67" fmla="*/ 3788011 w 4570627"/>
                <a:gd name="connsiteY67" fmla="*/ 4037498 h 4947372"/>
                <a:gd name="connsiteX68" fmla="*/ 3772323 w 4570627"/>
                <a:gd name="connsiteY68" fmla="*/ 4257123 h 4947372"/>
                <a:gd name="connsiteX69" fmla="*/ 3866448 w 4570627"/>
                <a:gd name="connsiteY69" fmla="*/ 4366935 h 4947372"/>
                <a:gd name="connsiteX70" fmla="*/ 3897823 w 4570627"/>
                <a:gd name="connsiteY70" fmla="*/ 4602248 h 4947372"/>
                <a:gd name="connsiteX71" fmla="*/ 3819386 w 4570627"/>
                <a:gd name="connsiteY71" fmla="*/ 4712060 h 4947372"/>
                <a:gd name="connsiteX72" fmla="*/ 3662511 w 4570627"/>
                <a:gd name="connsiteY72" fmla="*/ 4633622 h 4947372"/>
                <a:gd name="connsiteX73" fmla="*/ 3615449 w 4570627"/>
                <a:gd name="connsiteY73" fmla="*/ 4555185 h 4947372"/>
                <a:gd name="connsiteX74" fmla="*/ 3615449 w 4570627"/>
                <a:gd name="connsiteY74" fmla="*/ 4413998 h 4947372"/>
                <a:gd name="connsiteX75" fmla="*/ 3458574 w 4570627"/>
                <a:gd name="connsiteY75" fmla="*/ 4351248 h 4947372"/>
                <a:gd name="connsiteX76" fmla="*/ 3395824 w 4570627"/>
                <a:gd name="connsiteY76" fmla="*/ 4476748 h 4947372"/>
                <a:gd name="connsiteX77" fmla="*/ 3160513 w 4570627"/>
                <a:gd name="connsiteY77" fmla="*/ 4398310 h 4947372"/>
                <a:gd name="connsiteX78" fmla="*/ 3144825 w 4570627"/>
                <a:gd name="connsiteY78" fmla="*/ 4335560 h 4947372"/>
                <a:gd name="connsiteX79" fmla="*/ 2940888 w 4570627"/>
                <a:gd name="connsiteY79" fmla="*/ 4413998 h 4947372"/>
                <a:gd name="connsiteX80" fmla="*/ 2831076 w 4570627"/>
                <a:gd name="connsiteY80" fmla="*/ 4523810 h 4947372"/>
                <a:gd name="connsiteX81" fmla="*/ 2564389 w 4570627"/>
                <a:gd name="connsiteY81" fmla="*/ 4555185 h 4947372"/>
                <a:gd name="connsiteX82" fmla="*/ 2329077 w 4570627"/>
                <a:gd name="connsiteY82" fmla="*/ 4570873 h 4947372"/>
                <a:gd name="connsiteX83" fmla="*/ 2125140 w 4570627"/>
                <a:gd name="connsiteY83" fmla="*/ 4759122 h 4947372"/>
                <a:gd name="connsiteX84" fmla="*/ 1936891 w 4570627"/>
                <a:gd name="connsiteY84" fmla="*/ 4806185 h 4947372"/>
                <a:gd name="connsiteX85" fmla="*/ 1717266 w 4570627"/>
                <a:gd name="connsiteY85" fmla="*/ 4696372 h 4947372"/>
                <a:gd name="connsiteX86" fmla="*/ 1701579 w 4570627"/>
                <a:gd name="connsiteY86" fmla="*/ 4570873 h 4947372"/>
                <a:gd name="connsiteX87" fmla="*/ 1576079 w 4570627"/>
                <a:gd name="connsiteY87" fmla="*/ 4523810 h 4947372"/>
                <a:gd name="connsiteX88" fmla="*/ 1419205 w 4570627"/>
                <a:gd name="connsiteY88" fmla="*/ 4523810 h 4947372"/>
                <a:gd name="connsiteX89" fmla="*/ 1340768 w 4570627"/>
                <a:gd name="connsiteY89" fmla="*/ 4617935 h 4947372"/>
                <a:gd name="connsiteX90" fmla="*/ 1309393 w 4570627"/>
                <a:gd name="connsiteY90" fmla="*/ 4774810 h 4947372"/>
                <a:gd name="connsiteX91" fmla="*/ 1246643 w 4570627"/>
                <a:gd name="connsiteY91" fmla="*/ 4868935 h 4947372"/>
                <a:gd name="connsiteX92" fmla="*/ 1152518 w 4570627"/>
                <a:gd name="connsiteY92" fmla="*/ 4947372 h 4947372"/>
                <a:gd name="connsiteX93" fmla="*/ 964268 w 4570627"/>
                <a:gd name="connsiteY93" fmla="*/ 4900310 h 4947372"/>
                <a:gd name="connsiteX94" fmla="*/ 948581 w 4570627"/>
                <a:gd name="connsiteY94" fmla="*/ 4633622 h 4947372"/>
                <a:gd name="connsiteX95" fmla="*/ 807394 w 4570627"/>
                <a:gd name="connsiteY95" fmla="*/ 4539498 h 4947372"/>
                <a:gd name="connsiteX96" fmla="*/ 773692 w 4570627"/>
                <a:gd name="connsiteY96" fmla="*/ 4539498 h 4947372"/>
                <a:gd name="connsiteX97" fmla="*/ 802640 w 4570627"/>
                <a:gd name="connsiteY97" fmla="*/ 4488180 h 4947372"/>
                <a:gd name="connsiteX98" fmla="*/ 894080 w 4570627"/>
                <a:gd name="connsiteY98" fmla="*/ 4389120 h 4947372"/>
                <a:gd name="connsiteX99" fmla="*/ 1122680 w 4570627"/>
                <a:gd name="connsiteY99" fmla="*/ 4419600 h 4947372"/>
                <a:gd name="connsiteX100" fmla="*/ 1168400 w 4570627"/>
                <a:gd name="connsiteY100" fmla="*/ 4351020 h 4947372"/>
                <a:gd name="connsiteX101" fmla="*/ 1122680 w 4570627"/>
                <a:gd name="connsiteY101" fmla="*/ 4221480 h 4947372"/>
                <a:gd name="connsiteX102" fmla="*/ 1160780 w 4570627"/>
                <a:gd name="connsiteY102" fmla="*/ 4168140 h 4947372"/>
                <a:gd name="connsiteX103" fmla="*/ 1130300 w 4570627"/>
                <a:gd name="connsiteY103" fmla="*/ 4076700 h 4947372"/>
                <a:gd name="connsiteX104" fmla="*/ 1160780 w 4570627"/>
                <a:gd name="connsiteY104" fmla="*/ 3756660 h 4947372"/>
                <a:gd name="connsiteX105" fmla="*/ 1038860 w 4570627"/>
                <a:gd name="connsiteY105" fmla="*/ 3345180 h 4947372"/>
                <a:gd name="connsiteX106" fmla="*/ 1130300 w 4570627"/>
                <a:gd name="connsiteY106" fmla="*/ 3185160 h 4947372"/>
                <a:gd name="connsiteX107" fmla="*/ 1183640 w 4570627"/>
                <a:gd name="connsiteY107" fmla="*/ 3223260 h 4947372"/>
                <a:gd name="connsiteX108" fmla="*/ 1336040 w 4570627"/>
                <a:gd name="connsiteY108" fmla="*/ 3124200 h 4947372"/>
                <a:gd name="connsiteX109" fmla="*/ 1351280 w 4570627"/>
                <a:gd name="connsiteY109" fmla="*/ 2994660 h 4947372"/>
                <a:gd name="connsiteX110" fmla="*/ 1290320 w 4570627"/>
                <a:gd name="connsiteY110" fmla="*/ 2918460 h 4947372"/>
                <a:gd name="connsiteX111" fmla="*/ 1290320 w 4570627"/>
                <a:gd name="connsiteY111" fmla="*/ 2872740 h 4947372"/>
                <a:gd name="connsiteX112" fmla="*/ 1366520 w 4570627"/>
                <a:gd name="connsiteY112" fmla="*/ 2872740 h 4947372"/>
                <a:gd name="connsiteX113" fmla="*/ 1389380 w 4570627"/>
                <a:gd name="connsiteY113" fmla="*/ 2918460 h 4947372"/>
                <a:gd name="connsiteX114" fmla="*/ 1518920 w 4570627"/>
                <a:gd name="connsiteY114" fmla="*/ 2887980 h 4947372"/>
                <a:gd name="connsiteX115" fmla="*/ 1503680 w 4570627"/>
                <a:gd name="connsiteY115" fmla="*/ 2796540 h 4947372"/>
                <a:gd name="connsiteX116" fmla="*/ 1450340 w 4570627"/>
                <a:gd name="connsiteY116" fmla="*/ 2735580 h 4947372"/>
                <a:gd name="connsiteX117" fmla="*/ 1488440 w 4570627"/>
                <a:gd name="connsiteY117" fmla="*/ 2522220 h 4947372"/>
                <a:gd name="connsiteX118" fmla="*/ 1389380 w 4570627"/>
                <a:gd name="connsiteY118" fmla="*/ 2369820 h 4947372"/>
                <a:gd name="connsiteX119" fmla="*/ 1297940 w 4570627"/>
                <a:gd name="connsiteY119" fmla="*/ 2354580 h 4947372"/>
                <a:gd name="connsiteX120" fmla="*/ 1244600 w 4570627"/>
                <a:gd name="connsiteY120" fmla="*/ 2255520 h 4947372"/>
                <a:gd name="connsiteX121" fmla="*/ 1282700 w 4570627"/>
                <a:gd name="connsiteY121" fmla="*/ 2202180 h 4947372"/>
                <a:gd name="connsiteX122" fmla="*/ 1183640 w 4570627"/>
                <a:gd name="connsiteY122" fmla="*/ 2095500 h 4947372"/>
                <a:gd name="connsiteX123" fmla="*/ 1168400 w 4570627"/>
                <a:gd name="connsiteY123" fmla="*/ 1996440 h 4947372"/>
                <a:gd name="connsiteX124" fmla="*/ 1183640 w 4570627"/>
                <a:gd name="connsiteY124" fmla="*/ 1965960 h 4947372"/>
                <a:gd name="connsiteX125" fmla="*/ 1153160 w 4570627"/>
                <a:gd name="connsiteY125" fmla="*/ 1836420 h 4947372"/>
                <a:gd name="connsiteX126" fmla="*/ 1176020 w 4570627"/>
                <a:gd name="connsiteY126" fmla="*/ 1821180 h 4947372"/>
                <a:gd name="connsiteX127" fmla="*/ 1145540 w 4570627"/>
                <a:gd name="connsiteY127" fmla="*/ 1607820 h 4947372"/>
                <a:gd name="connsiteX128" fmla="*/ 1099820 w 4570627"/>
                <a:gd name="connsiteY128" fmla="*/ 1569720 h 4947372"/>
                <a:gd name="connsiteX129" fmla="*/ 1076960 w 4570627"/>
                <a:gd name="connsiteY129" fmla="*/ 1592580 h 4947372"/>
                <a:gd name="connsiteX130" fmla="*/ 1069340 w 4570627"/>
                <a:gd name="connsiteY130" fmla="*/ 1661160 h 4947372"/>
                <a:gd name="connsiteX131" fmla="*/ 970280 w 4570627"/>
                <a:gd name="connsiteY131" fmla="*/ 1668780 h 4947372"/>
                <a:gd name="connsiteX132" fmla="*/ 932180 w 4570627"/>
                <a:gd name="connsiteY132" fmla="*/ 1524000 h 4947372"/>
                <a:gd name="connsiteX133" fmla="*/ 871220 w 4570627"/>
                <a:gd name="connsiteY133" fmla="*/ 1569720 h 4947372"/>
                <a:gd name="connsiteX134" fmla="*/ 855980 w 4570627"/>
                <a:gd name="connsiteY134" fmla="*/ 1524000 h 4947372"/>
                <a:gd name="connsiteX135" fmla="*/ 924560 w 4570627"/>
                <a:gd name="connsiteY135" fmla="*/ 1463040 h 4947372"/>
                <a:gd name="connsiteX136" fmla="*/ 855980 w 4570627"/>
                <a:gd name="connsiteY136" fmla="*/ 1333500 h 4947372"/>
                <a:gd name="connsiteX137" fmla="*/ 825500 w 4570627"/>
                <a:gd name="connsiteY137" fmla="*/ 1280160 h 4947372"/>
                <a:gd name="connsiteX138" fmla="*/ 787400 w 4570627"/>
                <a:gd name="connsiteY138" fmla="*/ 1379220 h 4947372"/>
                <a:gd name="connsiteX139" fmla="*/ 772160 w 4570627"/>
                <a:gd name="connsiteY139" fmla="*/ 1318260 h 4947372"/>
                <a:gd name="connsiteX140" fmla="*/ 688340 w 4570627"/>
                <a:gd name="connsiteY140" fmla="*/ 1371600 h 4947372"/>
                <a:gd name="connsiteX141" fmla="*/ 695960 w 4570627"/>
                <a:gd name="connsiteY141" fmla="*/ 1226820 h 4947372"/>
                <a:gd name="connsiteX142" fmla="*/ 497840 w 4570627"/>
                <a:gd name="connsiteY142" fmla="*/ 1211580 h 4947372"/>
                <a:gd name="connsiteX143" fmla="*/ 353060 w 4570627"/>
                <a:gd name="connsiteY143" fmla="*/ 1264920 h 4947372"/>
                <a:gd name="connsiteX144" fmla="*/ 467360 w 4570627"/>
                <a:gd name="connsiteY144" fmla="*/ 1325880 h 4947372"/>
                <a:gd name="connsiteX145" fmla="*/ 474980 w 4570627"/>
                <a:gd name="connsiteY145" fmla="*/ 1402080 h 4947372"/>
                <a:gd name="connsiteX146" fmla="*/ 391160 w 4570627"/>
                <a:gd name="connsiteY146" fmla="*/ 1402080 h 4947372"/>
                <a:gd name="connsiteX147" fmla="*/ 360680 w 4570627"/>
                <a:gd name="connsiteY147" fmla="*/ 1501140 h 4947372"/>
                <a:gd name="connsiteX148" fmla="*/ 132080 w 4570627"/>
                <a:gd name="connsiteY148" fmla="*/ 1516380 h 4947372"/>
                <a:gd name="connsiteX149" fmla="*/ 69850 w 4570627"/>
                <a:gd name="connsiteY149" fmla="*/ 1483191 h 4947372"/>
                <a:gd name="connsiteX150" fmla="*/ 69850 w 4570627"/>
                <a:gd name="connsiteY150" fmla="*/ 1384300 h 4947372"/>
                <a:gd name="connsiteX151" fmla="*/ 146050 w 4570627"/>
                <a:gd name="connsiteY151" fmla="*/ 1244600 h 4947372"/>
                <a:gd name="connsiteX152" fmla="*/ 82550 w 4570627"/>
                <a:gd name="connsiteY152" fmla="*/ 1143000 h 4947372"/>
                <a:gd name="connsiteX153" fmla="*/ 25400 w 4570627"/>
                <a:gd name="connsiteY153" fmla="*/ 1117600 h 4947372"/>
                <a:gd name="connsiteX154" fmla="*/ 31750 w 4570627"/>
                <a:gd name="connsiteY154" fmla="*/ 901700 h 4947372"/>
                <a:gd name="connsiteX155" fmla="*/ 0 w 4570627"/>
                <a:gd name="connsiteY155" fmla="*/ 825500 h 4947372"/>
                <a:gd name="connsiteX156" fmla="*/ 0 w 4570627"/>
                <a:gd name="connsiteY156" fmla="*/ 723900 h 4947372"/>
                <a:gd name="connsiteX157" fmla="*/ 107950 w 4570627"/>
                <a:gd name="connsiteY157" fmla="*/ 704850 h 4947372"/>
                <a:gd name="connsiteX158" fmla="*/ 127000 w 4570627"/>
                <a:gd name="connsiteY158" fmla="*/ 755650 h 4947372"/>
                <a:gd name="connsiteX159" fmla="*/ 215900 w 4570627"/>
                <a:gd name="connsiteY159" fmla="*/ 698500 h 4947372"/>
                <a:gd name="connsiteX160" fmla="*/ 368300 w 4570627"/>
                <a:gd name="connsiteY160" fmla="*/ 698500 h 4947372"/>
                <a:gd name="connsiteX161" fmla="*/ 368300 w 4570627"/>
                <a:gd name="connsiteY161" fmla="*/ 749300 h 4947372"/>
                <a:gd name="connsiteX162" fmla="*/ 495300 w 4570627"/>
                <a:gd name="connsiteY162" fmla="*/ 749300 h 4947372"/>
                <a:gd name="connsiteX163" fmla="*/ 488950 w 4570627"/>
                <a:gd name="connsiteY163" fmla="*/ 660400 h 4947372"/>
                <a:gd name="connsiteX164" fmla="*/ 488950 w 4570627"/>
                <a:gd name="connsiteY164" fmla="*/ 552450 h 4947372"/>
                <a:gd name="connsiteX165" fmla="*/ 596900 w 4570627"/>
                <a:gd name="connsiteY165" fmla="*/ 565150 h 4947372"/>
                <a:gd name="connsiteX166" fmla="*/ 679450 w 4570627"/>
                <a:gd name="connsiteY166" fmla="*/ 463550 h 4947372"/>
                <a:gd name="connsiteX167" fmla="*/ 717550 w 4570627"/>
                <a:gd name="connsiteY167" fmla="*/ 260350 h 4947372"/>
                <a:gd name="connsiteX168" fmla="*/ 812800 w 4570627"/>
                <a:gd name="connsiteY168" fmla="*/ 311150 h 4947372"/>
                <a:gd name="connsiteX169" fmla="*/ 952500 w 4570627"/>
                <a:gd name="connsiteY169" fmla="*/ 215900 h 4947372"/>
                <a:gd name="connsiteX170" fmla="*/ 979517 w 4570627"/>
                <a:gd name="connsiteY170" fmla="*/ 175377 h 4947372"/>
                <a:gd name="connsiteX171" fmla="*/ 977900 w 4570627"/>
                <a:gd name="connsiteY171" fmla="*/ 222250 h 4947372"/>
                <a:gd name="connsiteX172" fmla="*/ 1060450 w 4570627"/>
                <a:gd name="connsiteY172" fmla="*/ 127000 h 4947372"/>
                <a:gd name="connsiteX173" fmla="*/ 920750 w 4570627"/>
                <a:gd name="connsiteY173" fmla="*/ 6350 h 4947372"/>
                <a:gd name="connsiteX174" fmla="*/ 869950 w 4570627"/>
                <a:gd name="connsiteY174" fmla="*/ 19050 h 4947372"/>
                <a:gd name="connsiteX175" fmla="*/ 920750 w 4570627"/>
                <a:gd name="connsiteY175" fmla="*/ 6350 h 4947372"/>
                <a:gd name="connsiteX176" fmla="*/ 1022350 w 4570627"/>
                <a:gd name="connsiteY176" fmla="*/ 1 h 4947372"/>
                <a:gd name="connsiteX177" fmla="*/ 1022350 w 4570627"/>
                <a:gd name="connsiteY177" fmla="*/ 0 h 4947372"/>
                <a:gd name="connsiteX178" fmla="*/ 1022350 w 4570627"/>
                <a:gd name="connsiteY178" fmla="*/ 1 h 4947372"/>
                <a:gd name="connsiteX0" fmla="*/ 555179 w 4570627"/>
                <a:gd name="connsiteY0" fmla="*/ 4618435 h 4947372"/>
                <a:gd name="connsiteX1" fmla="*/ 555179 w 4570627"/>
                <a:gd name="connsiteY1" fmla="*/ 4618435 h 4947372"/>
                <a:gd name="connsiteX2" fmla="*/ 546724 w 4570627"/>
                <a:gd name="connsiteY2" fmla="*/ 4643035 h 4947372"/>
                <a:gd name="connsiteX3" fmla="*/ 546723 w 4570627"/>
                <a:gd name="connsiteY3" fmla="*/ 4643035 h 4947372"/>
                <a:gd name="connsiteX4" fmla="*/ 555179 w 4570627"/>
                <a:gd name="connsiteY4" fmla="*/ 4618435 h 4947372"/>
                <a:gd name="connsiteX5" fmla="*/ 1060450 w 4570627"/>
                <a:gd name="connsiteY5" fmla="*/ 127000 h 4947372"/>
                <a:gd name="connsiteX6" fmla="*/ 1149350 w 4570627"/>
                <a:gd name="connsiteY6" fmla="*/ 165100 h 4947372"/>
                <a:gd name="connsiteX7" fmla="*/ 1263650 w 4570627"/>
                <a:gd name="connsiteY7" fmla="*/ 241300 h 4947372"/>
                <a:gd name="connsiteX8" fmla="*/ 1320800 w 4570627"/>
                <a:gd name="connsiteY8" fmla="*/ 361950 h 4947372"/>
                <a:gd name="connsiteX9" fmla="*/ 1371600 w 4570627"/>
                <a:gd name="connsiteY9" fmla="*/ 342900 h 4947372"/>
                <a:gd name="connsiteX10" fmla="*/ 1479550 w 4570627"/>
                <a:gd name="connsiteY10" fmla="*/ 450850 h 4947372"/>
                <a:gd name="connsiteX11" fmla="*/ 1530350 w 4570627"/>
                <a:gd name="connsiteY11" fmla="*/ 615950 h 4947372"/>
                <a:gd name="connsiteX12" fmla="*/ 1612900 w 4570627"/>
                <a:gd name="connsiteY12" fmla="*/ 660400 h 4947372"/>
                <a:gd name="connsiteX13" fmla="*/ 1638300 w 4570627"/>
                <a:gd name="connsiteY13" fmla="*/ 590550 h 4947372"/>
                <a:gd name="connsiteX14" fmla="*/ 1739900 w 4570627"/>
                <a:gd name="connsiteY14" fmla="*/ 596900 h 4947372"/>
                <a:gd name="connsiteX15" fmla="*/ 1746250 w 4570627"/>
                <a:gd name="connsiteY15" fmla="*/ 546100 h 4947372"/>
                <a:gd name="connsiteX16" fmla="*/ 1689100 w 4570627"/>
                <a:gd name="connsiteY16" fmla="*/ 514350 h 4947372"/>
                <a:gd name="connsiteX17" fmla="*/ 1638300 w 4570627"/>
                <a:gd name="connsiteY17" fmla="*/ 469900 h 4947372"/>
                <a:gd name="connsiteX18" fmla="*/ 1625600 w 4570627"/>
                <a:gd name="connsiteY18" fmla="*/ 419100 h 4947372"/>
                <a:gd name="connsiteX19" fmla="*/ 1778000 w 4570627"/>
                <a:gd name="connsiteY19" fmla="*/ 361950 h 4947372"/>
                <a:gd name="connsiteX20" fmla="*/ 1879600 w 4570627"/>
                <a:gd name="connsiteY20" fmla="*/ 374650 h 4947372"/>
                <a:gd name="connsiteX21" fmla="*/ 1873250 w 4570627"/>
                <a:gd name="connsiteY21" fmla="*/ 438150 h 4947372"/>
                <a:gd name="connsiteX22" fmla="*/ 1981200 w 4570627"/>
                <a:gd name="connsiteY22" fmla="*/ 431800 h 4947372"/>
                <a:gd name="connsiteX23" fmla="*/ 2006600 w 4570627"/>
                <a:gd name="connsiteY23" fmla="*/ 431800 h 4947372"/>
                <a:gd name="connsiteX24" fmla="*/ 2032000 w 4570627"/>
                <a:gd name="connsiteY24" fmla="*/ 533400 h 4947372"/>
                <a:gd name="connsiteX25" fmla="*/ 2133600 w 4570627"/>
                <a:gd name="connsiteY25" fmla="*/ 546100 h 4947372"/>
                <a:gd name="connsiteX26" fmla="*/ 2171700 w 4570627"/>
                <a:gd name="connsiteY26" fmla="*/ 412750 h 4947372"/>
                <a:gd name="connsiteX27" fmla="*/ 2146300 w 4570627"/>
                <a:gd name="connsiteY27" fmla="*/ 273050 h 4947372"/>
                <a:gd name="connsiteX28" fmla="*/ 2216150 w 4570627"/>
                <a:gd name="connsiteY28" fmla="*/ 190500 h 4947372"/>
                <a:gd name="connsiteX29" fmla="*/ 2279650 w 4570627"/>
                <a:gd name="connsiteY29" fmla="*/ 184150 h 4947372"/>
                <a:gd name="connsiteX30" fmla="*/ 2305050 w 4570627"/>
                <a:gd name="connsiteY30" fmla="*/ 279400 h 4947372"/>
                <a:gd name="connsiteX31" fmla="*/ 2374900 w 4570627"/>
                <a:gd name="connsiteY31" fmla="*/ 342900 h 4947372"/>
                <a:gd name="connsiteX32" fmla="*/ 2381250 w 4570627"/>
                <a:gd name="connsiteY32" fmla="*/ 406400 h 4947372"/>
                <a:gd name="connsiteX33" fmla="*/ 2514600 w 4570627"/>
                <a:gd name="connsiteY33" fmla="*/ 355600 h 4947372"/>
                <a:gd name="connsiteX34" fmla="*/ 2641600 w 4570627"/>
                <a:gd name="connsiteY34" fmla="*/ 330200 h 4947372"/>
                <a:gd name="connsiteX35" fmla="*/ 2686050 w 4570627"/>
                <a:gd name="connsiteY35" fmla="*/ 368300 h 4947372"/>
                <a:gd name="connsiteX36" fmla="*/ 2774950 w 4570627"/>
                <a:gd name="connsiteY36" fmla="*/ 317500 h 4947372"/>
                <a:gd name="connsiteX37" fmla="*/ 2796953 w 4570627"/>
                <a:gd name="connsiteY37" fmla="*/ 319596 h 4947372"/>
                <a:gd name="connsiteX38" fmla="*/ 2787650 w 4570627"/>
                <a:gd name="connsiteY38" fmla="*/ 298452 h 4947372"/>
                <a:gd name="connsiteX39" fmla="*/ 2857500 w 4570627"/>
                <a:gd name="connsiteY39" fmla="*/ 457201 h 4947372"/>
                <a:gd name="connsiteX40" fmla="*/ 2971800 w 4570627"/>
                <a:gd name="connsiteY40" fmla="*/ 482601 h 4947372"/>
                <a:gd name="connsiteX41" fmla="*/ 3054350 w 4570627"/>
                <a:gd name="connsiteY41" fmla="*/ 501651 h 4947372"/>
                <a:gd name="connsiteX42" fmla="*/ 3093057 w 4570627"/>
                <a:gd name="connsiteY42" fmla="*/ 656481 h 4947372"/>
                <a:gd name="connsiteX43" fmla="*/ 3011086 w 4570627"/>
                <a:gd name="connsiteY43" fmla="*/ 537623 h 4947372"/>
                <a:gd name="connsiteX44" fmla="*/ 2924805 w 4570627"/>
                <a:gd name="connsiteY44" fmla="*/ 623904 h 4947372"/>
                <a:gd name="connsiteX45" fmla="*/ 3026774 w 4570627"/>
                <a:gd name="connsiteY45" fmla="*/ 733716 h 4947372"/>
                <a:gd name="connsiteX46" fmla="*/ 3050305 w 4570627"/>
                <a:gd name="connsiteY46" fmla="*/ 906278 h 4947372"/>
                <a:gd name="connsiteX47" fmla="*/ 3348367 w 4570627"/>
                <a:gd name="connsiteY47" fmla="*/ 1078841 h 4947372"/>
                <a:gd name="connsiteX48" fmla="*/ 3411117 w 4570627"/>
                <a:gd name="connsiteY48" fmla="*/ 1188653 h 4947372"/>
                <a:gd name="connsiteX49" fmla="*/ 3262086 w 4570627"/>
                <a:gd name="connsiteY49" fmla="*/ 1369059 h 4947372"/>
                <a:gd name="connsiteX50" fmla="*/ 3395429 w 4570627"/>
                <a:gd name="connsiteY50" fmla="*/ 1612215 h 4947372"/>
                <a:gd name="connsiteX51" fmla="*/ 3489554 w 4570627"/>
                <a:gd name="connsiteY51" fmla="*/ 1894589 h 4947372"/>
                <a:gd name="connsiteX52" fmla="*/ 3638585 w 4570627"/>
                <a:gd name="connsiteY52" fmla="*/ 2059308 h 4947372"/>
                <a:gd name="connsiteX53" fmla="*/ 3756241 w 4570627"/>
                <a:gd name="connsiteY53" fmla="*/ 1965183 h 4947372"/>
                <a:gd name="connsiteX54" fmla="*/ 3905271 w 4570627"/>
                <a:gd name="connsiteY54" fmla="*/ 2208339 h 4947372"/>
                <a:gd name="connsiteX55" fmla="*/ 4007240 w 4570627"/>
                <a:gd name="connsiteY55" fmla="*/ 2325995 h 4947372"/>
                <a:gd name="connsiteX56" fmla="*/ 4124896 w 4570627"/>
                <a:gd name="connsiteY56" fmla="*/ 2325995 h 4947372"/>
                <a:gd name="connsiteX57" fmla="*/ 4328833 w 4570627"/>
                <a:gd name="connsiteY57" fmla="*/ 2608369 h 4947372"/>
                <a:gd name="connsiteX58" fmla="*/ 4446489 w 4570627"/>
                <a:gd name="connsiteY58" fmla="*/ 2592682 h 4947372"/>
                <a:gd name="connsiteX59" fmla="*/ 4564145 w 4570627"/>
                <a:gd name="connsiteY59" fmla="*/ 2718182 h 4947372"/>
                <a:gd name="connsiteX60" fmla="*/ 4570627 w 4570627"/>
                <a:gd name="connsiteY60" fmla="*/ 2728182 h 4947372"/>
                <a:gd name="connsiteX61" fmla="*/ 4493946 w 4570627"/>
                <a:gd name="connsiteY61" fmla="*/ 3096250 h 4947372"/>
                <a:gd name="connsiteX62" fmla="*/ 4274322 w 4570627"/>
                <a:gd name="connsiteY62" fmla="*/ 3111937 h 4947372"/>
                <a:gd name="connsiteX63" fmla="*/ 4180197 w 4570627"/>
                <a:gd name="connsiteY63" fmla="*/ 3441374 h 4947372"/>
                <a:gd name="connsiteX64" fmla="*/ 3819386 w 4570627"/>
                <a:gd name="connsiteY64" fmla="*/ 3566874 h 4947372"/>
                <a:gd name="connsiteX65" fmla="*/ 3552699 w 4570627"/>
                <a:gd name="connsiteY65" fmla="*/ 3723749 h 4947372"/>
                <a:gd name="connsiteX66" fmla="*/ 3552699 w 4570627"/>
                <a:gd name="connsiteY66" fmla="*/ 3833561 h 4947372"/>
                <a:gd name="connsiteX67" fmla="*/ 3788011 w 4570627"/>
                <a:gd name="connsiteY67" fmla="*/ 4037498 h 4947372"/>
                <a:gd name="connsiteX68" fmla="*/ 3772323 w 4570627"/>
                <a:gd name="connsiteY68" fmla="*/ 4257123 h 4947372"/>
                <a:gd name="connsiteX69" fmla="*/ 3866448 w 4570627"/>
                <a:gd name="connsiteY69" fmla="*/ 4366935 h 4947372"/>
                <a:gd name="connsiteX70" fmla="*/ 3897823 w 4570627"/>
                <a:gd name="connsiteY70" fmla="*/ 4602248 h 4947372"/>
                <a:gd name="connsiteX71" fmla="*/ 3819386 w 4570627"/>
                <a:gd name="connsiteY71" fmla="*/ 4712060 h 4947372"/>
                <a:gd name="connsiteX72" fmla="*/ 3662511 w 4570627"/>
                <a:gd name="connsiteY72" fmla="*/ 4633622 h 4947372"/>
                <a:gd name="connsiteX73" fmla="*/ 3615449 w 4570627"/>
                <a:gd name="connsiteY73" fmla="*/ 4555185 h 4947372"/>
                <a:gd name="connsiteX74" fmla="*/ 3615449 w 4570627"/>
                <a:gd name="connsiteY74" fmla="*/ 4413998 h 4947372"/>
                <a:gd name="connsiteX75" fmla="*/ 3458574 w 4570627"/>
                <a:gd name="connsiteY75" fmla="*/ 4351248 h 4947372"/>
                <a:gd name="connsiteX76" fmla="*/ 3395824 w 4570627"/>
                <a:gd name="connsiteY76" fmla="*/ 4476748 h 4947372"/>
                <a:gd name="connsiteX77" fmla="*/ 3160513 w 4570627"/>
                <a:gd name="connsiteY77" fmla="*/ 4398310 h 4947372"/>
                <a:gd name="connsiteX78" fmla="*/ 3144825 w 4570627"/>
                <a:gd name="connsiteY78" fmla="*/ 4335560 h 4947372"/>
                <a:gd name="connsiteX79" fmla="*/ 2940888 w 4570627"/>
                <a:gd name="connsiteY79" fmla="*/ 4413998 h 4947372"/>
                <a:gd name="connsiteX80" fmla="*/ 2831076 w 4570627"/>
                <a:gd name="connsiteY80" fmla="*/ 4523810 h 4947372"/>
                <a:gd name="connsiteX81" fmla="*/ 2564389 w 4570627"/>
                <a:gd name="connsiteY81" fmla="*/ 4555185 h 4947372"/>
                <a:gd name="connsiteX82" fmla="*/ 2329077 w 4570627"/>
                <a:gd name="connsiteY82" fmla="*/ 4570873 h 4947372"/>
                <a:gd name="connsiteX83" fmla="*/ 2125140 w 4570627"/>
                <a:gd name="connsiteY83" fmla="*/ 4759122 h 4947372"/>
                <a:gd name="connsiteX84" fmla="*/ 1936891 w 4570627"/>
                <a:gd name="connsiteY84" fmla="*/ 4806185 h 4947372"/>
                <a:gd name="connsiteX85" fmla="*/ 1717266 w 4570627"/>
                <a:gd name="connsiteY85" fmla="*/ 4696372 h 4947372"/>
                <a:gd name="connsiteX86" fmla="*/ 1701579 w 4570627"/>
                <a:gd name="connsiteY86" fmla="*/ 4570873 h 4947372"/>
                <a:gd name="connsiteX87" fmla="*/ 1576079 w 4570627"/>
                <a:gd name="connsiteY87" fmla="*/ 4523810 h 4947372"/>
                <a:gd name="connsiteX88" fmla="*/ 1419205 w 4570627"/>
                <a:gd name="connsiteY88" fmla="*/ 4523810 h 4947372"/>
                <a:gd name="connsiteX89" fmla="*/ 1340768 w 4570627"/>
                <a:gd name="connsiteY89" fmla="*/ 4617935 h 4947372"/>
                <a:gd name="connsiteX90" fmla="*/ 1309393 w 4570627"/>
                <a:gd name="connsiteY90" fmla="*/ 4774810 h 4947372"/>
                <a:gd name="connsiteX91" fmla="*/ 1246643 w 4570627"/>
                <a:gd name="connsiteY91" fmla="*/ 4868935 h 4947372"/>
                <a:gd name="connsiteX92" fmla="*/ 1152518 w 4570627"/>
                <a:gd name="connsiteY92" fmla="*/ 4947372 h 4947372"/>
                <a:gd name="connsiteX93" fmla="*/ 964268 w 4570627"/>
                <a:gd name="connsiteY93" fmla="*/ 4900310 h 4947372"/>
                <a:gd name="connsiteX94" fmla="*/ 948581 w 4570627"/>
                <a:gd name="connsiteY94" fmla="*/ 4633622 h 4947372"/>
                <a:gd name="connsiteX95" fmla="*/ 807394 w 4570627"/>
                <a:gd name="connsiteY95" fmla="*/ 4539498 h 4947372"/>
                <a:gd name="connsiteX96" fmla="*/ 773692 w 4570627"/>
                <a:gd name="connsiteY96" fmla="*/ 4539498 h 4947372"/>
                <a:gd name="connsiteX97" fmla="*/ 802640 w 4570627"/>
                <a:gd name="connsiteY97" fmla="*/ 4488180 h 4947372"/>
                <a:gd name="connsiteX98" fmla="*/ 894080 w 4570627"/>
                <a:gd name="connsiteY98" fmla="*/ 4389120 h 4947372"/>
                <a:gd name="connsiteX99" fmla="*/ 1122680 w 4570627"/>
                <a:gd name="connsiteY99" fmla="*/ 4419600 h 4947372"/>
                <a:gd name="connsiteX100" fmla="*/ 1168400 w 4570627"/>
                <a:gd name="connsiteY100" fmla="*/ 4351020 h 4947372"/>
                <a:gd name="connsiteX101" fmla="*/ 1122680 w 4570627"/>
                <a:gd name="connsiteY101" fmla="*/ 4221480 h 4947372"/>
                <a:gd name="connsiteX102" fmla="*/ 1160780 w 4570627"/>
                <a:gd name="connsiteY102" fmla="*/ 4168140 h 4947372"/>
                <a:gd name="connsiteX103" fmla="*/ 1130300 w 4570627"/>
                <a:gd name="connsiteY103" fmla="*/ 4076700 h 4947372"/>
                <a:gd name="connsiteX104" fmla="*/ 1160780 w 4570627"/>
                <a:gd name="connsiteY104" fmla="*/ 3756660 h 4947372"/>
                <a:gd name="connsiteX105" fmla="*/ 1038860 w 4570627"/>
                <a:gd name="connsiteY105" fmla="*/ 3345180 h 4947372"/>
                <a:gd name="connsiteX106" fmla="*/ 1130300 w 4570627"/>
                <a:gd name="connsiteY106" fmla="*/ 3185160 h 4947372"/>
                <a:gd name="connsiteX107" fmla="*/ 1183640 w 4570627"/>
                <a:gd name="connsiteY107" fmla="*/ 3223260 h 4947372"/>
                <a:gd name="connsiteX108" fmla="*/ 1336040 w 4570627"/>
                <a:gd name="connsiteY108" fmla="*/ 3124200 h 4947372"/>
                <a:gd name="connsiteX109" fmla="*/ 1351280 w 4570627"/>
                <a:gd name="connsiteY109" fmla="*/ 2994660 h 4947372"/>
                <a:gd name="connsiteX110" fmla="*/ 1290320 w 4570627"/>
                <a:gd name="connsiteY110" fmla="*/ 2918460 h 4947372"/>
                <a:gd name="connsiteX111" fmla="*/ 1290320 w 4570627"/>
                <a:gd name="connsiteY111" fmla="*/ 2872740 h 4947372"/>
                <a:gd name="connsiteX112" fmla="*/ 1366520 w 4570627"/>
                <a:gd name="connsiteY112" fmla="*/ 2872740 h 4947372"/>
                <a:gd name="connsiteX113" fmla="*/ 1389380 w 4570627"/>
                <a:gd name="connsiteY113" fmla="*/ 2918460 h 4947372"/>
                <a:gd name="connsiteX114" fmla="*/ 1518920 w 4570627"/>
                <a:gd name="connsiteY114" fmla="*/ 2887980 h 4947372"/>
                <a:gd name="connsiteX115" fmla="*/ 1503680 w 4570627"/>
                <a:gd name="connsiteY115" fmla="*/ 2796540 h 4947372"/>
                <a:gd name="connsiteX116" fmla="*/ 1450340 w 4570627"/>
                <a:gd name="connsiteY116" fmla="*/ 2735580 h 4947372"/>
                <a:gd name="connsiteX117" fmla="*/ 1488440 w 4570627"/>
                <a:gd name="connsiteY117" fmla="*/ 2522220 h 4947372"/>
                <a:gd name="connsiteX118" fmla="*/ 1389380 w 4570627"/>
                <a:gd name="connsiteY118" fmla="*/ 2369820 h 4947372"/>
                <a:gd name="connsiteX119" fmla="*/ 1297940 w 4570627"/>
                <a:gd name="connsiteY119" fmla="*/ 2354580 h 4947372"/>
                <a:gd name="connsiteX120" fmla="*/ 1244600 w 4570627"/>
                <a:gd name="connsiteY120" fmla="*/ 2255520 h 4947372"/>
                <a:gd name="connsiteX121" fmla="*/ 1282700 w 4570627"/>
                <a:gd name="connsiteY121" fmla="*/ 2202180 h 4947372"/>
                <a:gd name="connsiteX122" fmla="*/ 1183640 w 4570627"/>
                <a:gd name="connsiteY122" fmla="*/ 2095500 h 4947372"/>
                <a:gd name="connsiteX123" fmla="*/ 1168400 w 4570627"/>
                <a:gd name="connsiteY123" fmla="*/ 1996440 h 4947372"/>
                <a:gd name="connsiteX124" fmla="*/ 1183640 w 4570627"/>
                <a:gd name="connsiteY124" fmla="*/ 1965960 h 4947372"/>
                <a:gd name="connsiteX125" fmla="*/ 1153160 w 4570627"/>
                <a:gd name="connsiteY125" fmla="*/ 1836420 h 4947372"/>
                <a:gd name="connsiteX126" fmla="*/ 1176020 w 4570627"/>
                <a:gd name="connsiteY126" fmla="*/ 1821180 h 4947372"/>
                <a:gd name="connsiteX127" fmla="*/ 1145540 w 4570627"/>
                <a:gd name="connsiteY127" fmla="*/ 1607820 h 4947372"/>
                <a:gd name="connsiteX128" fmla="*/ 1099820 w 4570627"/>
                <a:gd name="connsiteY128" fmla="*/ 1569720 h 4947372"/>
                <a:gd name="connsiteX129" fmla="*/ 1076960 w 4570627"/>
                <a:gd name="connsiteY129" fmla="*/ 1592580 h 4947372"/>
                <a:gd name="connsiteX130" fmla="*/ 1069340 w 4570627"/>
                <a:gd name="connsiteY130" fmla="*/ 1661160 h 4947372"/>
                <a:gd name="connsiteX131" fmla="*/ 970280 w 4570627"/>
                <a:gd name="connsiteY131" fmla="*/ 1668780 h 4947372"/>
                <a:gd name="connsiteX132" fmla="*/ 932180 w 4570627"/>
                <a:gd name="connsiteY132" fmla="*/ 1524000 h 4947372"/>
                <a:gd name="connsiteX133" fmla="*/ 871220 w 4570627"/>
                <a:gd name="connsiteY133" fmla="*/ 1569720 h 4947372"/>
                <a:gd name="connsiteX134" fmla="*/ 855980 w 4570627"/>
                <a:gd name="connsiteY134" fmla="*/ 1524000 h 4947372"/>
                <a:gd name="connsiteX135" fmla="*/ 924560 w 4570627"/>
                <a:gd name="connsiteY135" fmla="*/ 1463040 h 4947372"/>
                <a:gd name="connsiteX136" fmla="*/ 855980 w 4570627"/>
                <a:gd name="connsiteY136" fmla="*/ 1333500 h 4947372"/>
                <a:gd name="connsiteX137" fmla="*/ 825500 w 4570627"/>
                <a:gd name="connsiteY137" fmla="*/ 1280160 h 4947372"/>
                <a:gd name="connsiteX138" fmla="*/ 787400 w 4570627"/>
                <a:gd name="connsiteY138" fmla="*/ 1379220 h 4947372"/>
                <a:gd name="connsiteX139" fmla="*/ 772160 w 4570627"/>
                <a:gd name="connsiteY139" fmla="*/ 1318260 h 4947372"/>
                <a:gd name="connsiteX140" fmla="*/ 688340 w 4570627"/>
                <a:gd name="connsiteY140" fmla="*/ 1371600 h 4947372"/>
                <a:gd name="connsiteX141" fmla="*/ 695960 w 4570627"/>
                <a:gd name="connsiteY141" fmla="*/ 1226820 h 4947372"/>
                <a:gd name="connsiteX142" fmla="*/ 497840 w 4570627"/>
                <a:gd name="connsiteY142" fmla="*/ 1211580 h 4947372"/>
                <a:gd name="connsiteX143" fmla="*/ 353060 w 4570627"/>
                <a:gd name="connsiteY143" fmla="*/ 1264920 h 4947372"/>
                <a:gd name="connsiteX144" fmla="*/ 467360 w 4570627"/>
                <a:gd name="connsiteY144" fmla="*/ 1325880 h 4947372"/>
                <a:gd name="connsiteX145" fmla="*/ 474980 w 4570627"/>
                <a:gd name="connsiteY145" fmla="*/ 1402080 h 4947372"/>
                <a:gd name="connsiteX146" fmla="*/ 391160 w 4570627"/>
                <a:gd name="connsiteY146" fmla="*/ 1402080 h 4947372"/>
                <a:gd name="connsiteX147" fmla="*/ 360680 w 4570627"/>
                <a:gd name="connsiteY147" fmla="*/ 1501140 h 4947372"/>
                <a:gd name="connsiteX148" fmla="*/ 132080 w 4570627"/>
                <a:gd name="connsiteY148" fmla="*/ 1516380 h 4947372"/>
                <a:gd name="connsiteX149" fmla="*/ 69850 w 4570627"/>
                <a:gd name="connsiteY149" fmla="*/ 1483191 h 4947372"/>
                <a:gd name="connsiteX150" fmla="*/ 69850 w 4570627"/>
                <a:gd name="connsiteY150" fmla="*/ 1384300 h 4947372"/>
                <a:gd name="connsiteX151" fmla="*/ 146050 w 4570627"/>
                <a:gd name="connsiteY151" fmla="*/ 1244600 h 4947372"/>
                <a:gd name="connsiteX152" fmla="*/ 82550 w 4570627"/>
                <a:gd name="connsiteY152" fmla="*/ 1143000 h 4947372"/>
                <a:gd name="connsiteX153" fmla="*/ 25400 w 4570627"/>
                <a:gd name="connsiteY153" fmla="*/ 1117600 h 4947372"/>
                <a:gd name="connsiteX154" fmla="*/ 31750 w 4570627"/>
                <a:gd name="connsiteY154" fmla="*/ 901700 h 4947372"/>
                <a:gd name="connsiteX155" fmla="*/ 0 w 4570627"/>
                <a:gd name="connsiteY155" fmla="*/ 825500 h 4947372"/>
                <a:gd name="connsiteX156" fmla="*/ 0 w 4570627"/>
                <a:gd name="connsiteY156" fmla="*/ 723900 h 4947372"/>
                <a:gd name="connsiteX157" fmla="*/ 107950 w 4570627"/>
                <a:gd name="connsiteY157" fmla="*/ 704850 h 4947372"/>
                <a:gd name="connsiteX158" fmla="*/ 127000 w 4570627"/>
                <a:gd name="connsiteY158" fmla="*/ 755650 h 4947372"/>
                <a:gd name="connsiteX159" fmla="*/ 215900 w 4570627"/>
                <a:gd name="connsiteY159" fmla="*/ 698500 h 4947372"/>
                <a:gd name="connsiteX160" fmla="*/ 368300 w 4570627"/>
                <a:gd name="connsiteY160" fmla="*/ 698500 h 4947372"/>
                <a:gd name="connsiteX161" fmla="*/ 368300 w 4570627"/>
                <a:gd name="connsiteY161" fmla="*/ 749300 h 4947372"/>
                <a:gd name="connsiteX162" fmla="*/ 495300 w 4570627"/>
                <a:gd name="connsiteY162" fmla="*/ 749300 h 4947372"/>
                <a:gd name="connsiteX163" fmla="*/ 488950 w 4570627"/>
                <a:gd name="connsiteY163" fmla="*/ 660400 h 4947372"/>
                <a:gd name="connsiteX164" fmla="*/ 488950 w 4570627"/>
                <a:gd name="connsiteY164" fmla="*/ 552450 h 4947372"/>
                <a:gd name="connsiteX165" fmla="*/ 596900 w 4570627"/>
                <a:gd name="connsiteY165" fmla="*/ 565150 h 4947372"/>
                <a:gd name="connsiteX166" fmla="*/ 679450 w 4570627"/>
                <a:gd name="connsiteY166" fmla="*/ 463550 h 4947372"/>
                <a:gd name="connsiteX167" fmla="*/ 717550 w 4570627"/>
                <a:gd name="connsiteY167" fmla="*/ 260350 h 4947372"/>
                <a:gd name="connsiteX168" fmla="*/ 812800 w 4570627"/>
                <a:gd name="connsiteY168" fmla="*/ 311150 h 4947372"/>
                <a:gd name="connsiteX169" fmla="*/ 952500 w 4570627"/>
                <a:gd name="connsiteY169" fmla="*/ 215900 h 4947372"/>
                <a:gd name="connsiteX170" fmla="*/ 979517 w 4570627"/>
                <a:gd name="connsiteY170" fmla="*/ 175377 h 4947372"/>
                <a:gd name="connsiteX171" fmla="*/ 977900 w 4570627"/>
                <a:gd name="connsiteY171" fmla="*/ 222250 h 4947372"/>
                <a:gd name="connsiteX172" fmla="*/ 1060450 w 4570627"/>
                <a:gd name="connsiteY172" fmla="*/ 127000 h 4947372"/>
                <a:gd name="connsiteX173" fmla="*/ 1022350 w 4570627"/>
                <a:gd name="connsiteY173" fmla="*/ 1 h 4947372"/>
                <a:gd name="connsiteX174" fmla="*/ 1022350 w 4570627"/>
                <a:gd name="connsiteY174" fmla="*/ 0 h 4947372"/>
                <a:gd name="connsiteX175" fmla="*/ 1022350 w 4570627"/>
                <a:gd name="connsiteY175" fmla="*/ 1 h 4947372"/>
                <a:gd name="connsiteX0" fmla="*/ 555179 w 4570627"/>
                <a:gd name="connsiteY0" fmla="*/ 4491435 h 4820372"/>
                <a:gd name="connsiteX1" fmla="*/ 555179 w 4570627"/>
                <a:gd name="connsiteY1" fmla="*/ 4491435 h 4820372"/>
                <a:gd name="connsiteX2" fmla="*/ 546724 w 4570627"/>
                <a:gd name="connsiteY2" fmla="*/ 4516035 h 4820372"/>
                <a:gd name="connsiteX3" fmla="*/ 546723 w 4570627"/>
                <a:gd name="connsiteY3" fmla="*/ 4516035 h 4820372"/>
                <a:gd name="connsiteX4" fmla="*/ 555179 w 4570627"/>
                <a:gd name="connsiteY4" fmla="*/ 4491435 h 4820372"/>
                <a:gd name="connsiteX5" fmla="*/ 1060450 w 4570627"/>
                <a:gd name="connsiteY5" fmla="*/ 0 h 4820372"/>
                <a:gd name="connsiteX6" fmla="*/ 1149350 w 4570627"/>
                <a:gd name="connsiteY6" fmla="*/ 38100 h 4820372"/>
                <a:gd name="connsiteX7" fmla="*/ 1263650 w 4570627"/>
                <a:gd name="connsiteY7" fmla="*/ 114300 h 4820372"/>
                <a:gd name="connsiteX8" fmla="*/ 1320800 w 4570627"/>
                <a:gd name="connsiteY8" fmla="*/ 234950 h 4820372"/>
                <a:gd name="connsiteX9" fmla="*/ 1371600 w 4570627"/>
                <a:gd name="connsiteY9" fmla="*/ 215900 h 4820372"/>
                <a:gd name="connsiteX10" fmla="*/ 1479550 w 4570627"/>
                <a:gd name="connsiteY10" fmla="*/ 323850 h 4820372"/>
                <a:gd name="connsiteX11" fmla="*/ 1530350 w 4570627"/>
                <a:gd name="connsiteY11" fmla="*/ 488950 h 4820372"/>
                <a:gd name="connsiteX12" fmla="*/ 1612900 w 4570627"/>
                <a:gd name="connsiteY12" fmla="*/ 533400 h 4820372"/>
                <a:gd name="connsiteX13" fmla="*/ 1638300 w 4570627"/>
                <a:gd name="connsiteY13" fmla="*/ 463550 h 4820372"/>
                <a:gd name="connsiteX14" fmla="*/ 1739900 w 4570627"/>
                <a:gd name="connsiteY14" fmla="*/ 469900 h 4820372"/>
                <a:gd name="connsiteX15" fmla="*/ 1746250 w 4570627"/>
                <a:gd name="connsiteY15" fmla="*/ 419100 h 4820372"/>
                <a:gd name="connsiteX16" fmla="*/ 1689100 w 4570627"/>
                <a:gd name="connsiteY16" fmla="*/ 387350 h 4820372"/>
                <a:gd name="connsiteX17" fmla="*/ 1638300 w 4570627"/>
                <a:gd name="connsiteY17" fmla="*/ 342900 h 4820372"/>
                <a:gd name="connsiteX18" fmla="*/ 1625600 w 4570627"/>
                <a:gd name="connsiteY18" fmla="*/ 292100 h 4820372"/>
                <a:gd name="connsiteX19" fmla="*/ 1778000 w 4570627"/>
                <a:gd name="connsiteY19" fmla="*/ 234950 h 4820372"/>
                <a:gd name="connsiteX20" fmla="*/ 1879600 w 4570627"/>
                <a:gd name="connsiteY20" fmla="*/ 247650 h 4820372"/>
                <a:gd name="connsiteX21" fmla="*/ 1873250 w 4570627"/>
                <a:gd name="connsiteY21" fmla="*/ 311150 h 4820372"/>
                <a:gd name="connsiteX22" fmla="*/ 1981200 w 4570627"/>
                <a:gd name="connsiteY22" fmla="*/ 304800 h 4820372"/>
                <a:gd name="connsiteX23" fmla="*/ 2006600 w 4570627"/>
                <a:gd name="connsiteY23" fmla="*/ 304800 h 4820372"/>
                <a:gd name="connsiteX24" fmla="*/ 2032000 w 4570627"/>
                <a:gd name="connsiteY24" fmla="*/ 406400 h 4820372"/>
                <a:gd name="connsiteX25" fmla="*/ 2133600 w 4570627"/>
                <a:gd name="connsiteY25" fmla="*/ 419100 h 4820372"/>
                <a:gd name="connsiteX26" fmla="*/ 2171700 w 4570627"/>
                <a:gd name="connsiteY26" fmla="*/ 285750 h 4820372"/>
                <a:gd name="connsiteX27" fmla="*/ 2146300 w 4570627"/>
                <a:gd name="connsiteY27" fmla="*/ 146050 h 4820372"/>
                <a:gd name="connsiteX28" fmla="*/ 2216150 w 4570627"/>
                <a:gd name="connsiteY28" fmla="*/ 63500 h 4820372"/>
                <a:gd name="connsiteX29" fmla="*/ 2279650 w 4570627"/>
                <a:gd name="connsiteY29" fmla="*/ 57150 h 4820372"/>
                <a:gd name="connsiteX30" fmla="*/ 2305050 w 4570627"/>
                <a:gd name="connsiteY30" fmla="*/ 152400 h 4820372"/>
                <a:gd name="connsiteX31" fmla="*/ 2374900 w 4570627"/>
                <a:gd name="connsiteY31" fmla="*/ 215900 h 4820372"/>
                <a:gd name="connsiteX32" fmla="*/ 2381250 w 4570627"/>
                <a:gd name="connsiteY32" fmla="*/ 279400 h 4820372"/>
                <a:gd name="connsiteX33" fmla="*/ 2514600 w 4570627"/>
                <a:gd name="connsiteY33" fmla="*/ 228600 h 4820372"/>
                <a:gd name="connsiteX34" fmla="*/ 2641600 w 4570627"/>
                <a:gd name="connsiteY34" fmla="*/ 203200 h 4820372"/>
                <a:gd name="connsiteX35" fmla="*/ 2686050 w 4570627"/>
                <a:gd name="connsiteY35" fmla="*/ 241300 h 4820372"/>
                <a:gd name="connsiteX36" fmla="*/ 2774950 w 4570627"/>
                <a:gd name="connsiteY36" fmla="*/ 190500 h 4820372"/>
                <a:gd name="connsiteX37" fmla="*/ 2796953 w 4570627"/>
                <a:gd name="connsiteY37" fmla="*/ 192596 h 4820372"/>
                <a:gd name="connsiteX38" fmla="*/ 2787650 w 4570627"/>
                <a:gd name="connsiteY38" fmla="*/ 171452 h 4820372"/>
                <a:gd name="connsiteX39" fmla="*/ 2857500 w 4570627"/>
                <a:gd name="connsiteY39" fmla="*/ 330201 h 4820372"/>
                <a:gd name="connsiteX40" fmla="*/ 2971800 w 4570627"/>
                <a:gd name="connsiteY40" fmla="*/ 355601 h 4820372"/>
                <a:gd name="connsiteX41" fmla="*/ 3054350 w 4570627"/>
                <a:gd name="connsiteY41" fmla="*/ 374651 h 4820372"/>
                <a:gd name="connsiteX42" fmla="*/ 3093057 w 4570627"/>
                <a:gd name="connsiteY42" fmla="*/ 529481 h 4820372"/>
                <a:gd name="connsiteX43" fmla="*/ 3011086 w 4570627"/>
                <a:gd name="connsiteY43" fmla="*/ 410623 h 4820372"/>
                <a:gd name="connsiteX44" fmla="*/ 2924805 w 4570627"/>
                <a:gd name="connsiteY44" fmla="*/ 496904 h 4820372"/>
                <a:gd name="connsiteX45" fmla="*/ 3026774 w 4570627"/>
                <a:gd name="connsiteY45" fmla="*/ 606716 h 4820372"/>
                <a:gd name="connsiteX46" fmla="*/ 3050305 w 4570627"/>
                <a:gd name="connsiteY46" fmla="*/ 779278 h 4820372"/>
                <a:gd name="connsiteX47" fmla="*/ 3348367 w 4570627"/>
                <a:gd name="connsiteY47" fmla="*/ 951841 h 4820372"/>
                <a:gd name="connsiteX48" fmla="*/ 3411117 w 4570627"/>
                <a:gd name="connsiteY48" fmla="*/ 1061653 h 4820372"/>
                <a:gd name="connsiteX49" fmla="*/ 3262086 w 4570627"/>
                <a:gd name="connsiteY49" fmla="*/ 1242059 h 4820372"/>
                <a:gd name="connsiteX50" fmla="*/ 3395429 w 4570627"/>
                <a:gd name="connsiteY50" fmla="*/ 1485215 h 4820372"/>
                <a:gd name="connsiteX51" fmla="*/ 3489554 w 4570627"/>
                <a:gd name="connsiteY51" fmla="*/ 1767589 h 4820372"/>
                <a:gd name="connsiteX52" fmla="*/ 3638585 w 4570627"/>
                <a:gd name="connsiteY52" fmla="*/ 1932308 h 4820372"/>
                <a:gd name="connsiteX53" fmla="*/ 3756241 w 4570627"/>
                <a:gd name="connsiteY53" fmla="*/ 1838183 h 4820372"/>
                <a:gd name="connsiteX54" fmla="*/ 3905271 w 4570627"/>
                <a:gd name="connsiteY54" fmla="*/ 2081339 h 4820372"/>
                <a:gd name="connsiteX55" fmla="*/ 4007240 w 4570627"/>
                <a:gd name="connsiteY55" fmla="*/ 2198995 h 4820372"/>
                <a:gd name="connsiteX56" fmla="*/ 4124896 w 4570627"/>
                <a:gd name="connsiteY56" fmla="*/ 2198995 h 4820372"/>
                <a:gd name="connsiteX57" fmla="*/ 4328833 w 4570627"/>
                <a:gd name="connsiteY57" fmla="*/ 2481369 h 4820372"/>
                <a:gd name="connsiteX58" fmla="*/ 4446489 w 4570627"/>
                <a:gd name="connsiteY58" fmla="*/ 2465682 h 4820372"/>
                <a:gd name="connsiteX59" fmla="*/ 4564145 w 4570627"/>
                <a:gd name="connsiteY59" fmla="*/ 2591182 h 4820372"/>
                <a:gd name="connsiteX60" fmla="*/ 4570627 w 4570627"/>
                <a:gd name="connsiteY60" fmla="*/ 2601182 h 4820372"/>
                <a:gd name="connsiteX61" fmla="*/ 4493946 w 4570627"/>
                <a:gd name="connsiteY61" fmla="*/ 2969250 h 4820372"/>
                <a:gd name="connsiteX62" fmla="*/ 4274322 w 4570627"/>
                <a:gd name="connsiteY62" fmla="*/ 2984937 h 4820372"/>
                <a:gd name="connsiteX63" fmla="*/ 4180197 w 4570627"/>
                <a:gd name="connsiteY63" fmla="*/ 3314374 h 4820372"/>
                <a:gd name="connsiteX64" fmla="*/ 3819386 w 4570627"/>
                <a:gd name="connsiteY64" fmla="*/ 3439874 h 4820372"/>
                <a:gd name="connsiteX65" fmla="*/ 3552699 w 4570627"/>
                <a:gd name="connsiteY65" fmla="*/ 3596749 h 4820372"/>
                <a:gd name="connsiteX66" fmla="*/ 3552699 w 4570627"/>
                <a:gd name="connsiteY66" fmla="*/ 3706561 h 4820372"/>
                <a:gd name="connsiteX67" fmla="*/ 3788011 w 4570627"/>
                <a:gd name="connsiteY67" fmla="*/ 3910498 h 4820372"/>
                <a:gd name="connsiteX68" fmla="*/ 3772323 w 4570627"/>
                <a:gd name="connsiteY68" fmla="*/ 4130123 h 4820372"/>
                <a:gd name="connsiteX69" fmla="*/ 3866448 w 4570627"/>
                <a:gd name="connsiteY69" fmla="*/ 4239935 h 4820372"/>
                <a:gd name="connsiteX70" fmla="*/ 3897823 w 4570627"/>
                <a:gd name="connsiteY70" fmla="*/ 4475248 h 4820372"/>
                <a:gd name="connsiteX71" fmla="*/ 3819386 w 4570627"/>
                <a:gd name="connsiteY71" fmla="*/ 4585060 h 4820372"/>
                <a:gd name="connsiteX72" fmla="*/ 3662511 w 4570627"/>
                <a:gd name="connsiteY72" fmla="*/ 4506622 h 4820372"/>
                <a:gd name="connsiteX73" fmla="*/ 3615449 w 4570627"/>
                <a:gd name="connsiteY73" fmla="*/ 4428185 h 4820372"/>
                <a:gd name="connsiteX74" fmla="*/ 3615449 w 4570627"/>
                <a:gd name="connsiteY74" fmla="*/ 4286998 h 4820372"/>
                <a:gd name="connsiteX75" fmla="*/ 3458574 w 4570627"/>
                <a:gd name="connsiteY75" fmla="*/ 4224248 h 4820372"/>
                <a:gd name="connsiteX76" fmla="*/ 3395824 w 4570627"/>
                <a:gd name="connsiteY76" fmla="*/ 4349748 h 4820372"/>
                <a:gd name="connsiteX77" fmla="*/ 3160513 w 4570627"/>
                <a:gd name="connsiteY77" fmla="*/ 4271310 h 4820372"/>
                <a:gd name="connsiteX78" fmla="*/ 3144825 w 4570627"/>
                <a:gd name="connsiteY78" fmla="*/ 4208560 h 4820372"/>
                <a:gd name="connsiteX79" fmla="*/ 2940888 w 4570627"/>
                <a:gd name="connsiteY79" fmla="*/ 4286998 h 4820372"/>
                <a:gd name="connsiteX80" fmla="*/ 2831076 w 4570627"/>
                <a:gd name="connsiteY80" fmla="*/ 4396810 h 4820372"/>
                <a:gd name="connsiteX81" fmla="*/ 2564389 w 4570627"/>
                <a:gd name="connsiteY81" fmla="*/ 4428185 h 4820372"/>
                <a:gd name="connsiteX82" fmla="*/ 2329077 w 4570627"/>
                <a:gd name="connsiteY82" fmla="*/ 4443873 h 4820372"/>
                <a:gd name="connsiteX83" fmla="*/ 2125140 w 4570627"/>
                <a:gd name="connsiteY83" fmla="*/ 4632122 h 4820372"/>
                <a:gd name="connsiteX84" fmla="*/ 1936891 w 4570627"/>
                <a:gd name="connsiteY84" fmla="*/ 4679185 h 4820372"/>
                <a:gd name="connsiteX85" fmla="*/ 1717266 w 4570627"/>
                <a:gd name="connsiteY85" fmla="*/ 4569372 h 4820372"/>
                <a:gd name="connsiteX86" fmla="*/ 1701579 w 4570627"/>
                <a:gd name="connsiteY86" fmla="*/ 4443873 h 4820372"/>
                <a:gd name="connsiteX87" fmla="*/ 1576079 w 4570627"/>
                <a:gd name="connsiteY87" fmla="*/ 4396810 h 4820372"/>
                <a:gd name="connsiteX88" fmla="*/ 1419205 w 4570627"/>
                <a:gd name="connsiteY88" fmla="*/ 4396810 h 4820372"/>
                <a:gd name="connsiteX89" fmla="*/ 1340768 w 4570627"/>
                <a:gd name="connsiteY89" fmla="*/ 4490935 h 4820372"/>
                <a:gd name="connsiteX90" fmla="*/ 1309393 w 4570627"/>
                <a:gd name="connsiteY90" fmla="*/ 4647810 h 4820372"/>
                <a:gd name="connsiteX91" fmla="*/ 1246643 w 4570627"/>
                <a:gd name="connsiteY91" fmla="*/ 4741935 h 4820372"/>
                <a:gd name="connsiteX92" fmla="*/ 1152518 w 4570627"/>
                <a:gd name="connsiteY92" fmla="*/ 4820372 h 4820372"/>
                <a:gd name="connsiteX93" fmla="*/ 964268 w 4570627"/>
                <a:gd name="connsiteY93" fmla="*/ 4773310 h 4820372"/>
                <a:gd name="connsiteX94" fmla="*/ 948581 w 4570627"/>
                <a:gd name="connsiteY94" fmla="*/ 4506622 h 4820372"/>
                <a:gd name="connsiteX95" fmla="*/ 807394 w 4570627"/>
                <a:gd name="connsiteY95" fmla="*/ 4412498 h 4820372"/>
                <a:gd name="connsiteX96" fmla="*/ 773692 w 4570627"/>
                <a:gd name="connsiteY96" fmla="*/ 4412498 h 4820372"/>
                <a:gd name="connsiteX97" fmla="*/ 802640 w 4570627"/>
                <a:gd name="connsiteY97" fmla="*/ 4361180 h 4820372"/>
                <a:gd name="connsiteX98" fmla="*/ 894080 w 4570627"/>
                <a:gd name="connsiteY98" fmla="*/ 4262120 h 4820372"/>
                <a:gd name="connsiteX99" fmla="*/ 1122680 w 4570627"/>
                <a:gd name="connsiteY99" fmla="*/ 4292600 h 4820372"/>
                <a:gd name="connsiteX100" fmla="*/ 1168400 w 4570627"/>
                <a:gd name="connsiteY100" fmla="*/ 4224020 h 4820372"/>
                <a:gd name="connsiteX101" fmla="*/ 1122680 w 4570627"/>
                <a:gd name="connsiteY101" fmla="*/ 4094480 h 4820372"/>
                <a:gd name="connsiteX102" fmla="*/ 1160780 w 4570627"/>
                <a:gd name="connsiteY102" fmla="*/ 4041140 h 4820372"/>
                <a:gd name="connsiteX103" fmla="*/ 1130300 w 4570627"/>
                <a:gd name="connsiteY103" fmla="*/ 3949700 h 4820372"/>
                <a:gd name="connsiteX104" fmla="*/ 1160780 w 4570627"/>
                <a:gd name="connsiteY104" fmla="*/ 3629660 h 4820372"/>
                <a:gd name="connsiteX105" fmla="*/ 1038860 w 4570627"/>
                <a:gd name="connsiteY105" fmla="*/ 3218180 h 4820372"/>
                <a:gd name="connsiteX106" fmla="*/ 1130300 w 4570627"/>
                <a:gd name="connsiteY106" fmla="*/ 3058160 h 4820372"/>
                <a:gd name="connsiteX107" fmla="*/ 1183640 w 4570627"/>
                <a:gd name="connsiteY107" fmla="*/ 3096260 h 4820372"/>
                <a:gd name="connsiteX108" fmla="*/ 1336040 w 4570627"/>
                <a:gd name="connsiteY108" fmla="*/ 2997200 h 4820372"/>
                <a:gd name="connsiteX109" fmla="*/ 1351280 w 4570627"/>
                <a:gd name="connsiteY109" fmla="*/ 2867660 h 4820372"/>
                <a:gd name="connsiteX110" fmla="*/ 1290320 w 4570627"/>
                <a:gd name="connsiteY110" fmla="*/ 2791460 h 4820372"/>
                <a:gd name="connsiteX111" fmla="*/ 1290320 w 4570627"/>
                <a:gd name="connsiteY111" fmla="*/ 2745740 h 4820372"/>
                <a:gd name="connsiteX112" fmla="*/ 1366520 w 4570627"/>
                <a:gd name="connsiteY112" fmla="*/ 2745740 h 4820372"/>
                <a:gd name="connsiteX113" fmla="*/ 1389380 w 4570627"/>
                <a:gd name="connsiteY113" fmla="*/ 2791460 h 4820372"/>
                <a:gd name="connsiteX114" fmla="*/ 1518920 w 4570627"/>
                <a:gd name="connsiteY114" fmla="*/ 2760980 h 4820372"/>
                <a:gd name="connsiteX115" fmla="*/ 1503680 w 4570627"/>
                <a:gd name="connsiteY115" fmla="*/ 2669540 h 4820372"/>
                <a:gd name="connsiteX116" fmla="*/ 1450340 w 4570627"/>
                <a:gd name="connsiteY116" fmla="*/ 2608580 h 4820372"/>
                <a:gd name="connsiteX117" fmla="*/ 1488440 w 4570627"/>
                <a:gd name="connsiteY117" fmla="*/ 2395220 h 4820372"/>
                <a:gd name="connsiteX118" fmla="*/ 1389380 w 4570627"/>
                <a:gd name="connsiteY118" fmla="*/ 2242820 h 4820372"/>
                <a:gd name="connsiteX119" fmla="*/ 1297940 w 4570627"/>
                <a:gd name="connsiteY119" fmla="*/ 2227580 h 4820372"/>
                <a:gd name="connsiteX120" fmla="*/ 1244600 w 4570627"/>
                <a:gd name="connsiteY120" fmla="*/ 2128520 h 4820372"/>
                <a:gd name="connsiteX121" fmla="*/ 1282700 w 4570627"/>
                <a:gd name="connsiteY121" fmla="*/ 2075180 h 4820372"/>
                <a:gd name="connsiteX122" fmla="*/ 1183640 w 4570627"/>
                <a:gd name="connsiteY122" fmla="*/ 1968500 h 4820372"/>
                <a:gd name="connsiteX123" fmla="*/ 1168400 w 4570627"/>
                <a:gd name="connsiteY123" fmla="*/ 1869440 h 4820372"/>
                <a:gd name="connsiteX124" fmla="*/ 1183640 w 4570627"/>
                <a:gd name="connsiteY124" fmla="*/ 1838960 h 4820372"/>
                <a:gd name="connsiteX125" fmla="*/ 1153160 w 4570627"/>
                <a:gd name="connsiteY125" fmla="*/ 1709420 h 4820372"/>
                <a:gd name="connsiteX126" fmla="*/ 1176020 w 4570627"/>
                <a:gd name="connsiteY126" fmla="*/ 1694180 h 4820372"/>
                <a:gd name="connsiteX127" fmla="*/ 1145540 w 4570627"/>
                <a:gd name="connsiteY127" fmla="*/ 1480820 h 4820372"/>
                <a:gd name="connsiteX128" fmla="*/ 1099820 w 4570627"/>
                <a:gd name="connsiteY128" fmla="*/ 1442720 h 4820372"/>
                <a:gd name="connsiteX129" fmla="*/ 1076960 w 4570627"/>
                <a:gd name="connsiteY129" fmla="*/ 1465580 h 4820372"/>
                <a:gd name="connsiteX130" fmla="*/ 1069340 w 4570627"/>
                <a:gd name="connsiteY130" fmla="*/ 1534160 h 4820372"/>
                <a:gd name="connsiteX131" fmla="*/ 970280 w 4570627"/>
                <a:gd name="connsiteY131" fmla="*/ 1541780 h 4820372"/>
                <a:gd name="connsiteX132" fmla="*/ 932180 w 4570627"/>
                <a:gd name="connsiteY132" fmla="*/ 1397000 h 4820372"/>
                <a:gd name="connsiteX133" fmla="*/ 871220 w 4570627"/>
                <a:gd name="connsiteY133" fmla="*/ 1442720 h 4820372"/>
                <a:gd name="connsiteX134" fmla="*/ 855980 w 4570627"/>
                <a:gd name="connsiteY134" fmla="*/ 1397000 h 4820372"/>
                <a:gd name="connsiteX135" fmla="*/ 924560 w 4570627"/>
                <a:gd name="connsiteY135" fmla="*/ 1336040 h 4820372"/>
                <a:gd name="connsiteX136" fmla="*/ 855980 w 4570627"/>
                <a:gd name="connsiteY136" fmla="*/ 1206500 h 4820372"/>
                <a:gd name="connsiteX137" fmla="*/ 825500 w 4570627"/>
                <a:gd name="connsiteY137" fmla="*/ 1153160 h 4820372"/>
                <a:gd name="connsiteX138" fmla="*/ 787400 w 4570627"/>
                <a:gd name="connsiteY138" fmla="*/ 1252220 h 4820372"/>
                <a:gd name="connsiteX139" fmla="*/ 772160 w 4570627"/>
                <a:gd name="connsiteY139" fmla="*/ 1191260 h 4820372"/>
                <a:gd name="connsiteX140" fmla="*/ 688340 w 4570627"/>
                <a:gd name="connsiteY140" fmla="*/ 1244600 h 4820372"/>
                <a:gd name="connsiteX141" fmla="*/ 695960 w 4570627"/>
                <a:gd name="connsiteY141" fmla="*/ 1099820 h 4820372"/>
                <a:gd name="connsiteX142" fmla="*/ 497840 w 4570627"/>
                <a:gd name="connsiteY142" fmla="*/ 1084580 h 4820372"/>
                <a:gd name="connsiteX143" fmla="*/ 353060 w 4570627"/>
                <a:gd name="connsiteY143" fmla="*/ 1137920 h 4820372"/>
                <a:gd name="connsiteX144" fmla="*/ 467360 w 4570627"/>
                <a:gd name="connsiteY144" fmla="*/ 1198880 h 4820372"/>
                <a:gd name="connsiteX145" fmla="*/ 474980 w 4570627"/>
                <a:gd name="connsiteY145" fmla="*/ 1275080 h 4820372"/>
                <a:gd name="connsiteX146" fmla="*/ 391160 w 4570627"/>
                <a:gd name="connsiteY146" fmla="*/ 1275080 h 4820372"/>
                <a:gd name="connsiteX147" fmla="*/ 360680 w 4570627"/>
                <a:gd name="connsiteY147" fmla="*/ 1374140 h 4820372"/>
                <a:gd name="connsiteX148" fmla="*/ 132080 w 4570627"/>
                <a:gd name="connsiteY148" fmla="*/ 1389380 h 4820372"/>
                <a:gd name="connsiteX149" fmla="*/ 69850 w 4570627"/>
                <a:gd name="connsiteY149" fmla="*/ 1356191 h 4820372"/>
                <a:gd name="connsiteX150" fmla="*/ 69850 w 4570627"/>
                <a:gd name="connsiteY150" fmla="*/ 1257300 h 4820372"/>
                <a:gd name="connsiteX151" fmla="*/ 146050 w 4570627"/>
                <a:gd name="connsiteY151" fmla="*/ 1117600 h 4820372"/>
                <a:gd name="connsiteX152" fmla="*/ 82550 w 4570627"/>
                <a:gd name="connsiteY152" fmla="*/ 1016000 h 4820372"/>
                <a:gd name="connsiteX153" fmla="*/ 25400 w 4570627"/>
                <a:gd name="connsiteY153" fmla="*/ 990600 h 4820372"/>
                <a:gd name="connsiteX154" fmla="*/ 31750 w 4570627"/>
                <a:gd name="connsiteY154" fmla="*/ 774700 h 4820372"/>
                <a:gd name="connsiteX155" fmla="*/ 0 w 4570627"/>
                <a:gd name="connsiteY155" fmla="*/ 698500 h 4820372"/>
                <a:gd name="connsiteX156" fmla="*/ 0 w 4570627"/>
                <a:gd name="connsiteY156" fmla="*/ 596900 h 4820372"/>
                <a:gd name="connsiteX157" fmla="*/ 107950 w 4570627"/>
                <a:gd name="connsiteY157" fmla="*/ 577850 h 4820372"/>
                <a:gd name="connsiteX158" fmla="*/ 127000 w 4570627"/>
                <a:gd name="connsiteY158" fmla="*/ 628650 h 4820372"/>
                <a:gd name="connsiteX159" fmla="*/ 215900 w 4570627"/>
                <a:gd name="connsiteY159" fmla="*/ 571500 h 4820372"/>
                <a:gd name="connsiteX160" fmla="*/ 368300 w 4570627"/>
                <a:gd name="connsiteY160" fmla="*/ 571500 h 4820372"/>
                <a:gd name="connsiteX161" fmla="*/ 368300 w 4570627"/>
                <a:gd name="connsiteY161" fmla="*/ 622300 h 4820372"/>
                <a:gd name="connsiteX162" fmla="*/ 495300 w 4570627"/>
                <a:gd name="connsiteY162" fmla="*/ 622300 h 4820372"/>
                <a:gd name="connsiteX163" fmla="*/ 488950 w 4570627"/>
                <a:gd name="connsiteY163" fmla="*/ 533400 h 4820372"/>
                <a:gd name="connsiteX164" fmla="*/ 488950 w 4570627"/>
                <a:gd name="connsiteY164" fmla="*/ 425450 h 4820372"/>
                <a:gd name="connsiteX165" fmla="*/ 596900 w 4570627"/>
                <a:gd name="connsiteY165" fmla="*/ 438150 h 4820372"/>
                <a:gd name="connsiteX166" fmla="*/ 679450 w 4570627"/>
                <a:gd name="connsiteY166" fmla="*/ 336550 h 4820372"/>
                <a:gd name="connsiteX167" fmla="*/ 717550 w 4570627"/>
                <a:gd name="connsiteY167" fmla="*/ 133350 h 4820372"/>
                <a:gd name="connsiteX168" fmla="*/ 812800 w 4570627"/>
                <a:gd name="connsiteY168" fmla="*/ 184150 h 4820372"/>
                <a:gd name="connsiteX169" fmla="*/ 952500 w 4570627"/>
                <a:gd name="connsiteY169" fmla="*/ 88900 h 4820372"/>
                <a:gd name="connsiteX170" fmla="*/ 979517 w 4570627"/>
                <a:gd name="connsiteY170" fmla="*/ 48377 h 4820372"/>
                <a:gd name="connsiteX171" fmla="*/ 977900 w 4570627"/>
                <a:gd name="connsiteY171" fmla="*/ 95250 h 4820372"/>
                <a:gd name="connsiteX172" fmla="*/ 1060450 w 4570627"/>
                <a:gd name="connsiteY172" fmla="*/ 0 h 4820372"/>
                <a:gd name="connsiteX0" fmla="*/ 546723 w 4570627"/>
                <a:gd name="connsiteY0" fmla="*/ 4516035 h 4820372"/>
                <a:gd name="connsiteX1" fmla="*/ 555179 w 4570627"/>
                <a:gd name="connsiteY1" fmla="*/ 4491435 h 4820372"/>
                <a:gd name="connsiteX2" fmla="*/ 546724 w 4570627"/>
                <a:gd name="connsiteY2" fmla="*/ 4516035 h 4820372"/>
                <a:gd name="connsiteX3" fmla="*/ 546723 w 4570627"/>
                <a:gd name="connsiteY3" fmla="*/ 4516035 h 4820372"/>
                <a:gd name="connsiteX4" fmla="*/ 1060450 w 4570627"/>
                <a:gd name="connsiteY4" fmla="*/ 0 h 4820372"/>
                <a:gd name="connsiteX5" fmla="*/ 1149350 w 4570627"/>
                <a:gd name="connsiteY5" fmla="*/ 38100 h 4820372"/>
                <a:gd name="connsiteX6" fmla="*/ 1263650 w 4570627"/>
                <a:gd name="connsiteY6" fmla="*/ 114300 h 4820372"/>
                <a:gd name="connsiteX7" fmla="*/ 1320800 w 4570627"/>
                <a:gd name="connsiteY7" fmla="*/ 234950 h 4820372"/>
                <a:gd name="connsiteX8" fmla="*/ 1371600 w 4570627"/>
                <a:gd name="connsiteY8" fmla="*/ 215900 h 4820372"/>
                <a:gd name="connsiteX9" fmla="*/ 1479550 w 4570627"/>
                <a:gd name="connsiteY9" fmla="*/ 323850 h 4820372"/>
                <a:gd name="connsiteX10" fmla="*/ 1530350 w 4570627"/>
                <a:gd name="connsiteY10" fmla="*/ 488950 h 4820372"/>
                <a:gd name="connsiteX11" fmla="*/ 1612900 w 4570627"/>
                <a:gd name="connsiteY11" fmla="*/ 533400 h 4820372"/>
                <a:gd name="connsiteX12" fmla="*/ 1638300 w 4570627"/>
                <a:gd name="connsiteY12" fmla="*/ 463550 h 4820372"/>
                <a:gd name="connsiteX13" fmla="*/ 1739900 w 4570627"/>
                <a:gd name="connsiteY13" fmla="*/ 469900 h 4820372"/>
                <a:gd name="connsiteX14" fmla="*/ 1746250 w 4570627"/>
                <a:gd name="connsiteY14" fmla="*/ 419100 h 4820372"/>
                <a:gd name="connsiteX15" fmla="*/ 1689100 w 4570627"/>
                <a:gd name="connsiteY15" fmla="*/ 387350 h 4820372"/>
                <a:gd name="connsiteX16" fmla="*/ 1638300 w 4570627"/>
                <a:gd name="connsiteY16" fmla="*/ 342900 h 4820372"/>
                <a:gd name="connsiteX17" fmla="*/ 1625600 w 4570627"/>
                <a:gd name="connsiteY17" fmla="*/ 292100 h 4820372"/>
                <a:gd name="connsiteX18" fmla="*/ 1778000 w 4570627"/>
                <a:gd name="connsiteY18" fmla="*/ 234950 h 4820372"/>
                <a:gd name="connsiteX19" fmla="*/ 1879600 w 4570627"/>
                <a:gd name="connsiteY19" fmla="*/ 247650 h 4820372"/>
                <a:gd name="connsiteX20" fmla="*/ 1873250 w 4570627"/>
                <a:gd name="connsiteY20" fmla="*/ 311150 h 4820372"/>
                <a:gd name="connsiteX21" fmla="*/ 1981200 w 4570627"/>
                <a:gd name="connsiteY21" fmla="*/ 304800 h 4820372"/>
                <a:gd name="connsiteX22" fmla="*/ 2006600 w 4570627"/>
                <a:gd name="connsiteY22" fmla="*/ 304800 h 4820372"/>
                <a:gd name="connsiteX23" fmla="*/ 2032000 w 4570627"/>
                <a:gd name="connsiteY23" fmla="*/ 406400 h 4820372"/>
                <a:gd name="connsiteX24" fmla="*/ 2133600 w 4570627"/>
                <a:gd name="connsiteY24" fmla="*/ 419100 h 4820372"/>
                <a:gd name="connsiteX25" fmla="*/ 2171700 w 4570627"/>
                <a:gd name="connsiteY25" fmla="*/ 285750 h 4820372"/>
                <a:gd name="connsiteX26" fmla="*/ 2146300 w 4570627"/>
                <a:gd name="connsiteY26" fmla="*/ 146050 h 4820372"/>
                <a:gd name="connsiteX27" fmla="*/ 2216150 w 4570627"/>
                <a:gd name="connsiteY27" fmla="*/ 63500 h 4820372"/>
                <a:gd name="connsiteX28" fmla="*/ 2279650 w 4570627"/>
                <a:gd name="connsiteY28" fmla="*/ 57150 h 4820372"/>
                <a:gd name="connsiteX29" fmla="*/ 2305050 w 4570627"/>
                <a:gd name="connsiteY29" fmla="*/ 152400 h 4820372"/>
                <a:gd name="connsiteX30" fmla="*/ 2374900 w 4570627"/>
                <a:gd name="connsiteY30" fmla="*/ 215900 h 4820372"/>
                <a:gd name="connsiteX31" fmla="*/ 2381250 w 4570627"/>
                <a:gd name="connsiteY31" fmla="*/ 279400 h 4820372"/>
                <a:gd name="connsiteX32" fmla="*/ 2514600 w 4570627"/>
                <a:gd name="connsiteY32" fmla="*/ 228600 h 4820372"/>
                <a:gd name="connsiteX33" fmla="*/ 2641600 w 4570627"/>
                <a:gd name="connsiteY33" fmla="*/ 203200 h 4820372"/>
                <a:gd name="connsiteX34" fmla="*/ 2686050 w 4570627"/>
                <a:gd name="connsiteY34" fmla="*/ 241300 h 4820372"/>
                <a:gd name="connsiteX35" fmla="*/ 2774950 w 4570627"/>
                <a:gd name="connsiteY35" fmla="*/ 190500 h 4820372"/>
                <a:gd name="connsiteX36" fmla="*/ 2796953 w 4570627"/>
                <a:gd name="connsiteY36" fmla="*/ 192596 h 4820372"/>
                <a:gd name="connsiteX37" fmla="*/ 2787650 w 4570627"/>
                <a:gd name="connsiteY37" fmla="*/ 171452 h 4820372"/>
                <a:gd name="connsiteX38" fmla="*/ 2857500 w 4570627"/>
                <a:gd name="connsiteY38" fmla="*/ 330201 h 4820372"/>
                <a:gd name="connsiteX39" fmla="*/ 2971800 w 4570627"/>
                <a:gd name="connsiteY39" fmla="*/ 355601 h 4820372"/>
                <a:gd name="connsiteX40" fmla="*/ 3054350 w 4570627"/>
                <a:gd name="connsiteY40" fmla="*/ 374651 h 4820372"/>
                <a:gd name="connsiteX41" fmla="*/ 3093057 w 4570627"/>
                <a:gd name="connsiteY41" fmla="*/ 529481 h 4820372"/>
                <a:gd name="connsiteX42" fmla="*/ 3011086 w 4570627"/>
                <a:gd name="connsiteY42" fmla="*/ 410623 h 4820372"/>
                <a:gd name="connsiteX43" fmla="*/ 2924805 w 4570627"/>
                <a:gd name="connsiteY43" fmla="*/ 496904 h 4820372"/>
                <a:gd name="connsiteX44" fmla="*/ 3026774 w 4570627"/>
                <a:gd name="connsiteY44" fmla="*/ 606716 h 4820372"/>
                <a:gd name="connsiteX45" fmla="*/ 3050305 w 4570627"/>
                <a:gd name="connsiteY45" fmla="*/ 779278 h 4820372"/>
                <a:gd name="connsiteX46" fmla="*/ 3348367 w 4570627"/>
                <a:gd name="connsiteY46" fmla="*/ 951841 h 4820372"/>
                <a:gd name="connsiteX47" fmla="*/ 3411117 w 4570627"/>
                <a:gd name="connsiteY47" fmla="*/ 1061653 h 4820372"/>
                <a:gd name="connsiteX48" fmla="*/ 3262086 w 4570627"/>
                <a:gd name="connsiteY48" fmla="*/ 1242059 h 4820372"/>
                <a:gd name="connsiteX49" fmla="*/ 3395429 w 4570627"/>
                <a:gd name="connsiteY49" fmla="*/ 1485215 h 4820372"/>
                <a:gd name="connsiteX50" fmla="*/ 3489554 w 4570627"/>
                <a:gd name="connsiteY50" fmla="*/ 1767589 h 4820372"/>
                <a:gd name="connsiteX51" fmla="*/ 3638585 w 4570627"/>
                <a:gd name="connsiteY51" fmla="*/ 1932308 h 4820372"/>
                <a:gd name="connsiteX52" fmla="*/ 3756241 w 4570627"/>
                <a:gd name="connsiteY52" fmla="*/ 1838183 h 4820372"/>
                <a:gd name="connsiteX53" fmla="*/ 3905271 w 4570627"/>
                <a:gd name="connsiteY53" fmla="*/ 2081339 h 4820372"/>
                <a:gd name="connsiteX54" fmla="*/ 4007240 w 4570627"/>
                <a:gd name="connsiteY54" fmla="*/ 2198995 h 4820372"/>
                <a:gd name="connsiteX55" fmla="*/ 4124896 w 4570627"/>
                <a:gd name="connsiteY55" fmla="*/ 2198995 h 4820372"/>
                <a:gd name="connsiteX56" fmla="*/ 4328833 w 4570627"/>
                <a:gd name="connsiteY56" fmla="*/ 2481369 h 4820372"/>
                <a:gd name="connsiteX57" fmla="*/ 4446489 w 4570627"/>
                <a:gd name="connsiteY57" fmla="*/ 2465682 h 4820372"/>
                <a:gd name="connsiteX58" fmla="*/ 4564145 w 4570627"/>
                <a:gd name="connsiteY58" fmla="*/ 2591182 h 4820372"/>
                <a:gd name="connsiteX59" fmla="*/ 4570627 w 4570627"/>
                <a:gd name="connsiteY59" fmla="*/ 2601182 h 4820372"/>
                <a:gd name="connsiteX60" fmla="*/ 4493946 w 4570627"/>
                <a:gd name="connsiteY60" fmla="*/ 2969250 h 4820372"/>
                <a:gd name="connsiteX61" fmla="*/ 4274322 w 4570627"/>
                <a:gd name="connsiteY61" fmla="*/ 2984937 h 4820372"/>
                <a:gd name="connsiteX62" fmla="*/ 4180197 w 4570627"/>
                <a:gd name="connsiteY62" fmla="*/ 3314374 h 4820372"/>
                <a:gd name="connsiteX63" fmla="*/ 3819386 w 4570627"/>
                <a:gd name="connsiteY63" fmla="*/ 3439874 h 4820372"/>
                <a:gd name="connsiteX64" fmla="*/ 3552699 w 4570627"/>
                <a:gd name="connsiteY64" fmla="*/ 3596749 h 4820372"/>
                <a:gd name="connsiteX65" fmla="*/ 3552699 w 4570627"/>
                <a:gd name="connsiteY65" fmla="*/ 3706561 h 4820372"/>
                <a:gd name="connsiteX66" fmla="*/ 3788011 w 4570627"/>
                <a:gd name="connsiteY66" fmla="*/ 3910498 h 4820372"/>
                <a:gd name="connsiteX67" fmla="*/ 3772323 w 4570627"/>
                <a:gd name="connsiteY67" fmla="*/ 4130123 h 4820372"/>
                <a:gd name="connsiteX68" fmla="*/ 3866448 w 4570627"/>
                <a:gd name="connsiteY68" fmla="*/ 4239935 h 4820372"/>
                <a:gd name="connsiteX69" fmla="*/ 3897823 w 4570627"/>
                <a:gd name="connsiteY69" fmla="*/ 4475248 h 4820372"/>
                <a:gd name="connsiteX70" fmla="*/ 3819386 w 4570627"/>
                <a:gd name="connsiteY70" fmla="*/ 4585060 h 4820372"/>
                <a:gd name="connsiteX71" fmla="*/ 3662511 w 4570627"/>
                <a:gd name="connsiteY71" fmla="*/ 4506622 h 4820372"/>
                <a:gd name="connsiteX72" fmla="*/ 3615449 w 4570627"/>
                <a:gd name="connsiteY72" fmla="*/ 4428185 h 4820372"/>
                <a:gd name="connsiteX73" fmla="*/ 3615449 w 4570627"/>
                <a:gd name="connsiteY73" fmla="*/ 4286998 h 4820372"/>
                <a:gd name="connsiteX74" fmla="*/ 3458574 w 4570627"/>
                <a:gd name="connsiteY74" fmla="*/ 4224248 h 4820372"/>
                <a:gd name="connsiteX75" fmla="*/ 3395824 w 4570627"/>
                <a:gd name="connsiteY75" fmla="*/ 4349748 h 4820372"/>
                <a:gd name="connsiteX76" fmla="*/ 3160513 w 4570627"/>
                <a:gd name="connsiteY76" fmla="*/ 4271310 h 4820372"/>
                <a:gd name="connsiteX77" fmla="*/ 3144825 w 4570627"/>
                <a:gd name="connsiteY77" fmla="*/ 4208560 h 4820372"/>
                <a:gd name="connsiteX78" fmla="*/ 2940888 w 4570627"/>
                <a:gd name="connsiteY78" fmla="*/ 4286998 h 4820372"/>
                <a:gd name="connsiteX79" fmla="*/ 2831076 w 4570627"/>
                <a:gd name="connsiteY79" fmla="*/ 4396810 h 4820372"/>
                <a:gd name="connsiteX80" fmla="*/ 2564389 w 4570627"/>
                <a:gd name="connsiteY80" fmla="*/ 4428185 h 4820372"/>
                <a:gd name="connsiteX81" fmla="*/ 2329077 w 4570627"/>
                <a:gd name="connsiteY81" fmla="*/ 4443873 h 4820372"/>
                <a:gd name="connsiteX82" fmla="*/ 2125140 w 4570627"/>
                <a:gd name="connsiteY82" fmla="*/ 4632122 h 4820372"/>
                <a:gd name="connsiteX83" fmla="*/ 1936891 w 4570627"/>
                <a:gd name="connsiteY83" fmla="*/ 4679185 h 4820372"/>
                <a:gd name="connsiteX84" fmla="*/ 1717266 w 4570627"/>
                <a:gd name="connsiteY84" fmla="*/ 4569372 h 4820372"/>
                <a:gd name="connsiteX85" fmla="*/ 1701579 w 4570627"/>
                <a:gd name="connsiteY85" fmla="*/ 4443873 h 4820372"/>
                <a:gd name="connsiteX86" fmla="*/ 1576079 w 4570627"/>
                <a:gd name="connsiteY86" fmla="*/ 4396810 h 4820372"/>
                <a:gd name="connsiteX87" fmla="*/ 1419205 w 4570627"/>
                <a:gd name="connsiteY87" fmla="*/ 4396810 h 4820372"/>
                <a:gd name="connsiteX88" fmla="*/ 1340768 w 4570627"/>
                <a:gd name="connsiteY88" fmla="*/ 4490935 h 4820372"/>
                <a:gd name="connsiteX89" fmla="*/ 1309393 w 4570627"/>
                <a:gd name="connsiteY89" fmla="*/ 4647810 h 4820372"/>
                <a:gd name="connsiteX90" fmla="*/ 1246643 w 4570627"/>
                <a:gd name="connsiteY90" fmla="*/ 4741935 h 4820372"/>
                <a:gd name="connsiteX91" fmla="*/ 1152518 w 4570627"/>
                <a:gd name="connsiteY91" fmla="*/ 4820372 h 4820372"/>
                <a:gd name="connsiteX92" fmla="*/ 964268 w 4570627"/>
                <a:gd name="connsiteY92" fmla="*/ 4773310 h 4820372"/>
                <a:gd name="connsiteX93" fmla="*/ 948581 w 4570627"/>
                <a:gd name="connsiteY93" fmla="*/ 4506622 h 4820372"/>
                <a:gd name="connsiteX94" fmla="*/ 807394 w 4570627"/>
                <a:gd name="connsiteY94" fmla="*/ 4412498 h 4820372"/>
                <a:gd name="connsiteX95" fmla="*/ 773692 w 4570627"/>
                <a:gd name="connsiteY95" fmla="*/ 4412498 h 4820372"/>
                <a:gd name="connsiteX96" fmla="*/ 802640 w 4570627"/>
                <a:gd name="connsiteY96" fmla="*/ 4361180 h 4820372"/>
                <a:gd name="connsiteX97" fmla="*/ 894080 w 4570627"/>
                <a:gd name="connsiteY97" fmla="*/ 4262120 h 4820372"/>
                <a:gd name="connsiteX98" fmla="*/ 1122680 w 4570627"/>
                <a:gd name="connsiteY98" fmla="*/ 4292600 h 4820372"/>
                <a:gd name="connsiteX99" fmla="*/ 1168400 w 4570627"/>
                <a:gd name="connsiteY99" fmla="*/ 4224020 h 4820372"/>
                <a:gd name="connsiteX100" fmla="*/ 1122680 w 4570627"/>
                <a:gd name="connsiteY100" fmla="*/ 4094480 h 4820372"/>
                <a:gd name="connsiteX101" fmla="*/ 1160780 w 4570627"/>
                <a:gd name="connsiteY101" fmla="*/ 4041140 h 4820372"/>
                <a:gd name="connsiteX102" fmla="*/ 1130300 w 4570627"/>
                <a:gd name="connsiteY102" fmla="*/ 3949700 h 4820372"/>
                <a:gd name="connsiteX103" fmla="*/ 1160780 w 4570627"/>
                <a:gd name="connsiteY103" fmla="*/ 3629660 h 4820372"/>
                <a:gd name="connsiteX104" fmla="*/ 1038860 w 4570627"/>
                <a:gd name="connsiteY104" fmla="*/ 3218180 h 4820372"/>
                <a:gd name="connsiteX105" fmla="*/ 1130300 w 4570627"/>
                <a:gd name="connsiteY105" fmla="*/ 3058160 h 4820372"/>
                <a:gd name="connsiteX106" fmla="*/ 1183640 w 4570627"/>
                <a:gd name="connsiteY106" fmla="*/ 3096260 h 4820372"/>
                <a:gd name="connsiteX107" fmla="*/ 1336040 w 4570627"/>
                <a:gd name="connsiteY107" fmla="*/ 2997200 h 4820372"/>
                <a:gd name="connsiteX108" fmla="*/ 1351280 w 4570627"/>
                <a:gd name="connsiteY108" fmla="*/ 2867660 h 4820372"/>
                <a:gd name="connsiteX109" fmla="*/ 1290320 w 4570627"/>
                <a:gd name="connsiteY109" fmla="*/ 2791460 h 4820372"/>
                <a:gd name="connsiteX110" fmla="*/ 1290320 w 4570627"/>
                <a:gd name="connsiteY110" fmla="*/ 2745740 h 4820372"/>
                <a:gd name="connsiteX111" fmla="*/ 1366520 w 4570627"/>
                <a:gd name="connsiteY111" fmla="*/ 2745740 h 4820372"/>
                <a:gd name="connsiteX112" fmla="*/ 1389380 w 4570627"/>
                <a:gd name="connsiteY112" fmla="*/ 2791460 h 4820372"/>
                <a:gd name="connsiteX113" fmla="*/ 1518920 w 4570627"/>
                <a:gd name="connsiteY113" fmla="*/ 2760980 h 4820372"/>
                <a:gd name="connsiteX114" fmla="*/ 1503680 w 4570627"/>
                <a:gd name="connsiteY114" fmla="*/ 2669540 h 4820372"/>
                <a:gd name="connsiteX115" fmla="*/ 1450340 w 4570627"/>
                <a:gd name="connsiteY115" fmla="*/ 2608580 h 4820372"/>
                <a:gd name="connsiteX116" fmla="*/ 1488440 w 4570627"/>
                <a:gd name="connsiteY116" fmla="*/ 2395220 h 4820372"/>
                <a:gd name="connsiteX117" fmla="*/ 1389380 w 4570627"/>
                <a:gd name="connsiteY117" fmla="*/ 2242820 h 4820372"/>
                <a:gd name="connsiteX118" fmla="*/ 1297940 w 4570627"/>
                <a:gd name="connsiteY118" fmla="*/ 2227580 h 4820372"/>
                <a:gd name="connsiteX119" fmla="*/ 1244600 w 4570627"/>
                <a:gd name="connsiteY119" fmla="*/ 2128520 h 4820372"/>
                <a:gd name="connsiteX120" fmla="*/ 1282700 w 4570627"/>
                <a:gd name="connsiteY120" fmla="*/ 2075180 h 4820372"/>
                <a:gd name="connsiteX121" fmla="*/ 1183640 w 4570627"/>
                <a:gd name="connsiteY121" fmla="*/ 1968500 h 4820372"/>
                <a:gd name="connsiteX122" fmla="*/ 1168400 w 4570627"/>
                <a:gd name="connsiteY122" fmla="*/ 1869440 h 4820372"/>
                <a:gd name="connsiteX123" fmla="*/ 1183640 w 4570627"/>
                <a:gd name="connsiteY123" fmla="*/ 1838960 h 4820372"/>
                <a:gd name="connsiteX124" fmla="*/ 1153160 w 4570627"/>
                <a:gd name="connsiteY124" fmla="*/ 1709420 h 4820372"/>
                <a:gd name="connsiteX125" fmla="*/ 1176020 w 4570627"/>
                <a:gd name="connsiteY125" fmla="*/ 1694180 h 4820372"/>
                <a:gd name="connsiteX126" fmla="*/ 1145540 w 4570627"/>
                <a:gd name="connsiteY126" fmla="*/ 1480820 h 4820372"/>
                <a:gd name="connsiteX127" fmla="*/ 1099820 w 4570627"/>
                <a:gd name="connsiteY127" fmla="*/ 1442720 h 4820372"/>
                <a:gd name="connsiteX128" fmla="*/ 1076960 w 4570627"/>
                <a:gd name="connsiteY128" fmla="*/ 1465580 h 4820372"/>
                <a:gd name="connsiteX129" fmla="*/ 1069340 w 4570627"/>
                <a:gd name="connsiteY129" fmla="*/ 1534160 h 4820372"/>
                <a:gd name="connsiteX130" fmla="*/ 970280 w 4570627"/>
                <a:gd name="connsiteY130" fmla="*/ 1541780 h 4820372"/>
                <a:gd name="connsiteX131" fmla="*/ 932180 w 4570627"/>
                <a:gd name="connsiteY131" fmla="*/ 1397000 h 4820372"/>
                <a:gd name="connsiteX132" fmla="*/ 871220 w 4570627"/>
                <a:gd name="connsiteY132" fmla="*/ 1442720 h 4820372"/>
                <a:gd name="connsiteX133" fmla="*/ 855980 w 4570627"/>
                <a:gd name="connsiteY133" fmla="*/ 1397000 h 4820372"/>
                <a:gd name="connsiteX134" fmla="*/ 924560 w 4570627"/>
                <a:gd name="connsiteY134" fmla="*/ 1336040 h 4820372"/>
                <a:gd name="connsiteX135" fmla="*/ 855980 w 4570627"/>
                <a:gd name="connsiteY135" fmla="*/ 1206500 h 4820372"/>
                <a:gd name="connsiteX136" fmla="*/ 825500 w 4570627"/>
                <a:gd name="connsiteY136" fmla="*/ 1153160 h 4820372"/>
                <a:gd name="connsiteX137" fmla="*/ 787400 w 4570627"/>
                <a:gd name="connsiteY137" fmla="*/ 1252220 h 4820372"/>
                <a:gd name="connsiteX138" fmla="*/ 772160 w 4570627"/>
                <a:gd name="connsiteY138" fmla="*/ 1191260 h 4820372"/>
                <a:gd name="connsiteX139" fmla="*/ 688340 w 4570627"/>
                <a:gd name="connsiteY139" fmla="*/ 1244600 h 4820372"/>
                <a:gd name="connsiteX140" fmla="*/ 695960 w 4570627"/>
                <a:gd name="connsiteY140" fmla="*/ 1099820 h 4820372"/>
                <a:gd name="connsiteX141" fmla="*/ 497840 w 4570627"/>
                <a:gd name="connsiteY141" fmla="*/ 1084580 h 4820372"/>
                <a:gd name="connsiteX142" fmla="*/ 353060 w 4570627"/>
                <a:gd name="connsiteY142" fmla="*/ 1137920 h 4820372"/>
                <a:gd name="connsiteX143" fmla="*/ 467360 w 4570627"/>
                <a:gd name="connsiteY143" fmla="*/ 1198880 h 4820372"/>
                <a:gd name="connsiteX144" fmla="*/ 474980 w 4570627"/>
                <a:gd name="connsiteY144" fmla="*/ 1275080 h 4820372"/>
                <a:gd name="connsiteX145" fmla="*/ 391160 w 4570627"/>
                <a:gd name="connsiteY145" fmla="*/ 1275080 h 4820372"/>
                <a:gd name="connsiteX146" fmla="*/ 360680 w 4570627"/>
                <a:gd name="connsiteY146" fmla="*/ 1374140 h 4820372"/>
                <a:gd name="connsiteX147" fmla="*/ 132080 w 4570627"/>
                <a:gd name="connsiteY147" fmla="*/ 1389380 h 4820372"/>
                <a:gd name="connsiteX148" fmla="*/ 69850 w 4570627"/>
                <a:gd name="connsiteY148" fmla="*/ 1356191 h 4820372"/>
                <a:gd name="connsiteX149" fmla="*/ 69850 w 4570627"/>
                <a:gd name="connsiteY149" fmla="*/ 1257300 h 4820372"/>
                <a:gd name="connsiteX150" fmla="*/ 146050 w 4570627"/>
                <a:gd name="connsiteY150" fmla="*/ 1117600 h 4820372"/>
                <a:gd name="connsiteX151" fmla="*/ 82550 w 4570627"/>
                <a:gd name="connsiteY151" fmla="*/ 1016000 h 4820372"/>
                <a:gd name="connsiteX152" fmla="*/ 25400 w 4570627"/>
                <a:gd name="connsiteY152" fmla="*/ 990600 h 4820372"/>
                <a:gd name="connsiteX153" fmla="*/ 31750 w 4570627"/>
                <a:gd name="connsiteY153" fmla="*/ 774700 h 4820372"/>
                <a:gd name="connsiteX154" fmla="*/ 0 w 4570627"/>
                <a:gd name="connsiteY154" fmla="*/ 698500 h 4820372"/>
                <a:gd name="connsiteX155" fmla="*/ 0 w 4570627"/>
                <a:gd name="connsiteY155" fmla="*/ 596900 h 4820372"/>
                <a:gd name="connsiteX156" fmla="*/ 107950 w 4570627"/>
                <a:gd name="connsiteY156" fmla="*/ 577850 h 4820372"/>
                <a:gd name="connsiteX157" fmla="*/ 127000 w 4570627"/>
                <a:gd name="connsiteY157" fmla="*/ 628650 h 4820372"/>
                <a:gd name="connsiteX158" fmla="*/ 215900 w 4570627"/>
                <a:gd name="connsiteY158" fmla="*/ 571500 h 4820372"/>
                <a:gd name="connsiteX159" fmla="*/ 368300 w 4570627"/>
                <a:gd name="connsiteY159" fmla="*/ 571500 h 4820372"/>
                <a:gd name="connsiteX160" fmla="*/ 368300 w 4570627"/>
                <a:gd name="connsiteY160" fmla="*/ 622300 h 4820372"/>
                <a:gd name="connsiteX161" fmla="*/ 495300 w 4570627"/>
                <a:gd name="connsiteY161" fmla="*/ 622300 h 4820372"/>
                <a:gd name="connsiteX162" fmla="*/ 488950 w 4570627"/>
                <a:gd name="connsiteY162" fmla="*/ 533400 h 4820372"/>
                <a:gd name="connsiteX163" fmla="*/ 488950 w 4570627"/>
                <a:gd name="connsiteY163" fmla="*/ 425450 h 4820372"/>
                <a:gd name="connsiteX164" fmla="*/ 596900 w 4570627"/>
                <a:gd name="connsiteY164" fmla="*/ 438150 h 4820372"/>
                <a:gd name="connsiteX165" fmla="*/ 679450 w 4570627"/>
                <a:gd name="connsiteY165" fmla="*/ 336550 h 4820372"/>
                <a:gd name="connsiteX166" fmla="*/ 717550 w 4570627"/>
                <a:gd name="connsiteY166" fmla="*/ 133350 h 4820372"/>
                <a:gd name="connsiteX167" fmla="*/ 812800 w 4570627"/>
                <a:gd name="connsiteY167" fmla="*/ 184150 h 4820372"/>
                <a:gd name="connsiteX168" fmla="*/ 952500 w 4570627"/>
                <a:gd name="connsiteY168" fmla="*/ 88900 h 4820372"/>
                <a:gd name="connsiteX169" fmla="*/ 979517 w 4570627"/>
                <a:gd name="connsiteY169" fmla="*/ 48377 h 4820372"/>
                <a:gd name="connsiteX170" fmla="*/ 977900 w 4570627"/>
                <a:gd name="connsiteY170" fmla="*/ 95250 h 4820372"/>
                <a:gd name="connsiteX171" fmla="*/ 1060450 w 4570627"/>
                <a:gd name="connsiteY171" fmla="*/ 0 h 4820372"/>
                <a:gd name="connsiteX0" fmla="*/ 546724 w 4570627"/>
                <a:gd name="connsiteY0" fmla="*/ 4516035 h 4820372"/>
                <a:gd name="connsiteX1" fmla="*/ 555179 w 4570627"/>
                <a:gd name="connsiteY1" fmla="*/ 4491435 h 4820372"/>
                <a:gd name="connsiteX2" fmla="*/ 546724 w 4570627"/>
                <a:gd name="connsiteY2" fmla="*/ 4516035 h 4820372"/>
                <a:gd name="connsiteX3" fmla="*/ 1060450 w 4570627"/>
                <a:gd name="connsiteY3" fmla="*/ 0 h 4820372"/>
                <a:gd name="connsiteX4" fmla="*/ 1149350 w 4570627"/>
                <a:gd name="connsiteY4" fmla="*/ 38100 h 4820372"/>
                <a:gd name="connsiteX5" fmla="*/ 1263650 w 4570627"/>
                <a:gd name="connsiteY5" fmla="*/ 114300 h 4820372"/>
                <a:gd name="connsiteX6" fmla="*/ 1320800 w 4570627"/>
                <a:gd name="connsiteY6" fmla="*/ 234950 h 4820372"/>
                <a:gd name="connsiteX7" fmla="*/ 1371600 w 4570627"/>
                <a:gd name="connsiteY7" fmla="*/ 215900 h 4820372"/>
                <a:gd name="connsiteX8" fmla="*/ 1479550 w 4570627"/>
                <a:gd name="connsiteY8" fmla="*/ 323850 h 4820372"/>
                <a:gd name="connsiteX9" fmla="*/ 1530350 w 4570627"/>
                <a:gd name="connsiteY9" fmla="*/ 488950 h 4820372"/>
                <a:gd name="connsiteX10" fmla="*/ 1612900 w 4570627"/>
                <a:gd name="connsiteY10" fmla="*/ 533400 h 4820372"/>
                <a:gd name="connsiteX11" fmla="*/ 1638300 w 4570627"/>
                <a:gd name="connsiteY11" fmla="*/ 463550 h 4820372"/>
                <a:gd name="connsiteX12" fmla="*/ 1739900 w 4570627"/>
                <a:gd name="connsiteY12" fmla="*/ 469900 h 4820372"/>
                <a:gd name="connsiteX13" fmla="*/ 1746250 w 4570627"/>
                <a:gd name="connsiteY13" fmla="*/ 419100 h 4820372"/>
                <a:gd name="connsiteX14" fmla="*/ 1689100 w 4570627"/>
                <a:gd name="connsiteY14" fmla="*/ 387350 h 4820372"/>
                <a:gd name="connsiteX15" fmla="*/ 1638300 w 4570627"/>
                <a:gd name="connsiteY15" fmla="*/ 342900 h 4820372"/>
                <a:gd name="connsiteX16" fmla="*/ 1625600 w 4570627"/>
                <a:gd name="connsiteY16" fmla="*/ 292100 h 4820372"/>
                <a:gd name="connsiteX17" fmla="*/ 1778000 w 4570627"/>
                <a:gd name="connsiteY17" fmla="*/ 234950 h 4820372"/>
                <a:gd name="connsiteX18" fmla="*/ 1879600 w 4570627"/>
                <a:gd name="connsiteY18" fmla="*/ 247650 h 4820372"/>
                <a:gd name="connsiteX19" fmla="*/ 1873250 w 4570627"/>
                <a:gd name="connsiteY19" fmla="*/ 311150 h 4820372"/>
                <a:gd name="connsiteX20" fmla="*/ 1981200 w 4570627"/>
                <a:gd name="connsiteY20" fmla="*/ 304800 h 4820372"/>
                <a:gd name="connsiteX21" fmla="*/ 2006600 w 4570627"/>
                <a:gd name="connsiteY21" fmla="*/ 304800 h 4820372"/>
                <a:gd name="connsiteX22" fmla="*/ 2032000 w 4570627"/>
                <a:gd name="connsiteY22" fmla="*/ 406400 h 4820372"/>
                <a:gd name="connsiteX23" fmla="*/ 2133600 w 4570627"/>
                <a:gd name="connsiteY23" fmla="*/ 419100 h 4820372"/>
                <a:gd name="connsiteX24" fmla="*/ 2171700 w 4570627"/>
                <a:gd name="connsiteY24" fmla="*/ 285750 h 4820372"/>
                <a:gd name="connsiteX25" fmla="*/ 2146300 w 4570627"/>
                <a:gd name="connsiteY25" fmla="*/ 146050 h 4820372"/>
                <a:gd name="connsiteX26" fmla="*/ 2216150 w 4570627"/>
                <a:gd name="connsiteY26" fmla="*/ 63500 h 4820372"/>
                <a:gd name="connsiteX27" fmla="*/ 2279650 w 4570627"/>
                <a:gd name="connsiteY27" fmla="*/ 57150 h 4820372"/>
                <a:gd name="connsiteX28" fmla="*/ 2305050 w 4570627"/>
                <a:gd name="connsiteY28" fmla="*/ 152400 h 4820372"/>
                <a:gd name="connsiteX29" fmla="*/ 2374900 w 4570627"/>
                <a:gd name="connsiteY29" fmla="*/ 215900 h 4820372"/>
                <a:gd name="connsiteX30" fmla="*/ 2381250 w 4570627"/>
                <a:gd name="connsiteY30" fmla="*/ 279400 h 4820372"/>
                <a:gd name="connsiteX31" fmla="*/ 2514600 w 4570627"/>
                <a:gd name="connsiteY31" fmla="*/ 228600 h 4820372"/>
                <a:gd name="connsiteX32" fmla="*/ 2641600 w 4570627"/>
                <a:gd name="connsiteY32" fmla="*/ 203200 h 4820372"/>
                <a:gd name="connsiteX33" fmla="*/ 2686050 w 4570627"/>
                <a:gd name="connsiteY33" fmla="*/ 241300 h 4820372"/>
                <a:gd name="connsiteX34" fmla="*/ 2774950 w 4570627"/>
                <a:gd name="connsiteY34" fmla="*/ 190500 h 4820372"/>
                <a:gd name="connsiteX35" fmla="*/ 2796953 w 4570627"/>
                <a:gd name="connsiteY35" fmla="*/ 192596 h 4820372"/>
                <a:gd name="connsiteX36" fmla="*/ 2787650 w 4570627"/>
                <a:gd name="connsiteY36" fmla="*/ 171452 h 4820372"/>
                <a:gd name="connsiteX37" fmla="*/ 2857500 w 4570627"/>
                <a:gd name="connsiteY37" fmla="*/ 330201 h 4820372"/>
                <a:gd name="connsiteX38" fmla="*/ 2971800 w 4570627"/>
                <a:gd name="connsiteY38" fmla="*/ 355601 h 4820372"/>
                <a:gd name="connsiteX39" fmla="*/ 3054350 w 4570627"/>
                <a:gd name="connsiteY39" fmla="*/ 374651 h 4820372"/>
                <a:gd name="connsiteX40" fmla="*/ 3093057 w 4570627"/>
                <a:gd name="connsiteY40" fmla="*/ 529481 h 4820372"/>
                <a:gd name="connsiteX41" fmla="*/ 3011086 w 4570627"/>
                <a:gd name="connsiteY41" fmla="*/ 410623 h 4820372"/>
                <a:gd name="connsiteX42" fmla="*/ 2924805 w 4570627"/>
                <a:gd name="connsiteY42" fmla="*/ 496904 h 4820372"/>
                <a:gd name="connsiteX43" fmla="*/ 3026774 w 4570627"/>
                <a:gd name="connsiteY43" fmla="*/ 606716 h 4820372"/>
                <a:gd name="connsiteX44" fmla="*/ 3050305 w 4570627"/>
                <a:gd name="connsiteY44" fmla="*/ 779278 h 4820372"/>
                <a:gd name="connsiteX45" fmla="*/ 3348367 w 4570627"/>
                <a:gd name="connsiteY45" fmla="*/ 951841 h 4820372"/>
                <a:gd name="connsiteX46" fmla="*/ 3411117 w 4570627"/>
                <a:gd name="connsiteY46" fmla="*/ 1061653 h 4820372"/>
                <a:gd name="connsiteX47" fmla="*/ 3262086 w 4570627"/>
                <a:gd name="connsiteY47" fmla="*/ 1242059 h 4820372"/>
                <a:gd name="connsiteX48" fmla="*/ 3395429 w 4570627"/>
                <a:gd name="connsiteY48" fmla="*/ 1485215 h 4820372"/>
                <a:gd name="connsiteX49" fmla="*/ 3489554 w 4570627"/>
                <a:gd name="connsiteY49" fmla="*/ 1767589 h 4820372"/>
                <a:gd name="connsiteX50" fmla="*/ 3638585 w 4570627"/>
                <a:gd name="connsiteY50" fmla="*/ 1932308 h 4820372"/>
                <a:gd name="connsiteX51" fmla="*/ 3756241 w 4570627"/>
                <a:gd name="connsiteY51" fmla="*/ 1838183 h 4820372"/>
                <a:gd name="connsiteX52" fmla="*/ 3905271 w 4570627"/>
                <a:gd name="connsiteY52" fmla="*/ 2081339 h 4820372"/>
                <a:gd name="connsiteX53" fmla="*/ 4007240 w 4570627"/>
                <a:gd name="connsiteY53" fmla="*/ 2198995 h 4820372"/>
                <a:gd name="connsiteX54" fmla="*/ 4124896 w 4570627"/>
                <a:gd name="connsiteY54" fmla="*/ 2198995 h 4820372"/>
                <a:gd name="connsiteX55" fmla="*/ 4328833 w 4570627"/>
                <a:gd name="connsiteY55" fmla="*/ 2481369 h 4820372"/>
                <a:gd name="connsiteX56" fmla="*/ 4446489 w 4570627"/>
                <a:gd name="connsiteY56" fmla="*/ 2465682 h 4820372"/>
                <a:gd name="connsiteX57" fmla="*/ 4564145 w 4570627"/>
                <a:gd name="connsiteY57" fmla="*/ 2591182 h 4820372"/>
                <a:gd name="connsiteX58" fmla="*/ 4570627 w 4570627"/>
                <a:gd name="connsiteY58" fmla="*/ 2601182 h 4820372"/>
                <a:gd name="connsiteX59" fmla="*/ 4493946 w 4570627"/>
                <a:gd name="connsiteY59" fmla="*/ 2969250 h 4820372"/>
                <a:gd name="connsiteX60" fmla="*/ 4274322 w 4570627"/>
                <a:gd name="connsiteY60" fmla="*/ 2984937 h 4820372"/>
                <a:gd name="connsiteX61" fmla="*/ 4180197 w 4570627"/>
                <a:gd name="connsiteY61" fmla="*/ 3314374 h 4820372"/>
                <a:gd name="connsiteX62" fmla="*/ 3819386 w 4570627"/>
                <a:gd name="connsiteY62" fmla="*/ 3439874 h 4820372"/>
                <a:gd name="connsiteX63" fmla="*/ 3552699 w 4570627"/>
                <a:gd name="connsiteY63" fmla="*/ 3596749 h 4820372"/>
                <a:gd name="connsiteX64" fmla="*/ 3552699 w 4570627"/>
                <a:gd name="connsiteY64" fmla="*/ 3706561 h 4820372"/>
                <a:gd name="connsiteX65" fmla="*/ 3788011 w 4570627"/>
                <a:gd name="connsiteY65" fmla="*/ 3910498 h 4820372"/>
                <a:gd name="connsiteX66" fmla="*/ 3772323 w 4570627"/>
                <a:gd name="connsiteY66" fmla="*/ 4130123 h 4820372"/>
                <a:gd name="connsiteX67" fmla="*/ 3866448 w 4570627"/>
                <a:gd name="connsiteY67" fmla="*/ 4239935 h 4820372"/>
                <a:gd name="connsiteX68" fmla="*/ 3897823 w 4570627"/>
                <a:gd name="connsiteY68" fmla="*/ 4475248 h 4820372"/>
                <a:gd name="connsiteX69" fmla="*/ 3819386 w 4570627"/>
                <a:gd name="connsiteY69" fmla="*/ 4585060 h 4820372"/>
                <a:gd name="connsiteX70" fmla="*/ 3662511 w 4570627"/>
                <a:gd name="connsiteY70" fmla="*/ 4506622 h 4820372"/>
                <a:gd name="connsiteX71" fmla="*/ 3615449 w 4570627"/>
                <a:gd name="connsiteY71" fmla="*/ 4428185 h 4820372"/>
                <a:gd name="connsiteX72" fmla="*/ 3615449 w 4570627"/>
                <a:gd name="connsiteY72" fmla="*/ 4286998 h 4820372"/>
                <a:gd name="connsiteX73" fmla="*/ 3458574 w 4570627"/>
                <a:gd name="connsiteY73" fmla="*/ 4224248 h 4820372"/>
                <a:gd name="connsiteX74" fmla="*/ 3395824 w 4570627"/>
                <a:gd name="connsiteY74" fmla="*/ 4349748 h 4820372"/>
                <a:gd name="connsiteX75" fmla="*/ 3160513 w 4570627"/>
                <a:gd name="connsiteY75" fmla="*/ 4271310 h 4820372"/>
                <a:gd name="connsiteX76" fmla="*/ 3144825 w 4570627"/>
                <a:gd name="connsiteY76" fmla="*/ 4208560 h 4820372"/>
                <a:gd name="connsiteX77" fmla="*/ 2940888 w 4570627"/>
                <a:gd name="connsiteY77" fmla="*/ 4286998 h 4820372"/>
                <a:gd name="connsiteX78" fmla="*/ 2831076 w 4570627"/>
                <a:gd name="connsiteY78" fmla="*/ 4396810 h 4820372"/>
                <a:gd name="connsiteX79" fmla="*/ 2564389 w 4570627"/>
                <a:gd name="connsiteY79" fmla="*/ 4428185 h 4820372"/>
                <a:gd name="connsiteX80" fmla="*/ 2329077 w 4570627"/>
                <a:gd name="connsiteY80" fmla="*/ 4443873 h 4820372"/>
                <a:gd name="connsiteX81" fmla="*/ 2125140 w 4570627"/>
                <a:gd name="connsiteY81" fmla="*/ 4632122 h 4820372"/>
                <a:gd name="connsiteX82" fmla="*/ 1936891 w 4570627"/>
                <a:gd name="connsiteY82" fmla="*/ 4679185 h 4820372"/>
                <a:gd name="connsiteX83" fmla="*/ 1717266 w 4570627"/>
                <a:gd name="connsiteY83" fmla="*/ 4569372 h 4820372"/>
                <a:gd name="connsiteX84" fmla="*/ 1701579 w 4570627"/>
                <a:gd name="connsiteY84" fmla="*/ 4443873 h 4820372"/>
                <a:gd name="connsiteX85" fmla="*/ 1576079 w 4570627"/>
                <a:gd name="connsiteY85" fmla="*/ 4396810 h 4820372"/>
                <a:gd name="connsiteX86" fmla="*/ 1419205 w 4570627"/>
                <a:gd name="connsiteY86" fmla="*/ 4396810 h 4820372"/>
                <a:gd name="connsiteX87" fmla="*/ 1340768 w 4570627"/>
                <a:gd name="connsiteY87" fmla="*/ 4490935 h 4820372"/>
                <a:gd name="connsiteX88" fmla="*/ 1309393 w 4570627"/>
                <a:gd name="connsiteY88" fmla="*/ 4647810 h 4820372"/>
                <a:gd name="connsiteX89" fmla="*/ 1246643 w 4570627"/>
                <a:gd name="connsiteY89" fmla="*/ 4741935 h 4820372"/>
                <a:gd name="connsiteX90" fmla="*/ 1152518 w 4570627"/>
                <a:gd name="connsiteY90" fmla="*/ 4820372 h 4820372"/>
                <a:gd name="connsiteX91" fmla="*/ 964268 w 4570627"/>
                <a:gd name="connsiteY91" fmla="*/ 4773310 h 4820372"/>
                <a:gd name="connsiteX92" fmla="*/ 948581 w 4570627"/>
                <a:gd name="connsiteY92" fmla="*/ 4506622 h 4820372"/>
                <a:gd name="connsiteX93" fmla="*/ 807394 w 4570627"/>
                <a:gd name="connsiteY93" fmla="*/ 4412498 h 4820372"/>
                <a:gd name="connsiteX94" fmla="*/ 773692 w 4570627"/>
                <a:gd name="connsiteY94" fmla="*/ 4412498 h 4820372"/>
                <a:gd name="connsiteX95" fmla="*/ 802640 w 4570627"/>
                <a:gd name="connsiteY95" fmla="*/ 4361180 h 4820372"/>
                <a:gd name="connsiteX96" fmla="*/ 894080 w 4570627"/>
                <a:gd name="connsiteY96" fmla="*/ 4262120 h 4820372"/>
                <a:gd name="connsiteX97" fmla="*/ 1122680 w 4570627"/>
                <a:gd name="connsiteY97" fmla="*/ 4292600 h 4820372"/>
                <a:gd name="connsiteX98" fmla="*/ 1168400 w 4570627"/>
                <a:gd name="connsiteY98" fmla="*/ 4224020 h 4820372"/>
                <a:gd name="connsiteX99" fmla="*/ 1122680 w 4570627"/>
                <a:gd name="connsiteY99" fmla="*/ 4094480 h 4820372"/>
                <a:gd name="connsiteX100" fmla="*/ 1160780 w 4570627"/>
                <a:gd name="connsiteY100" fmla="*/ 4041140 h 4820372"/>
                <a:gd name="connsiteX101" fmla="*/ 1130300 w 4570627"/>
                <a:gd name="connsiteY101" fmla="*/ 3949700 h 4820372"/>
                <a:gd name="connsiteX102" fmla="*/ 1160780 w 4570627"/>
                <a:gd name="connsiteY102" fmla="*/ 3629660 h 4820372"/>
                <a:gd name="connsiteX103" fmla="*/ 1038860 w 4570627"/>
                <a:gd name="connsiteY103" fmla="*/ 3218180 h 4820372"/>
                <a:gd name="connsiteX104" fmla="*/ 1130300 w 4570627"/>
                <a:gd name="connsiteY104" fmla="*/ 3058160 h 4820372"/>
                <a:gd name="connsiteX105" fmla="*/ 1183640 w 4570627"/>
                <a:gd name="connsiteY105" fmla="*/ 3096260 h 4820372"/>
                <a:gd name="connsiteX106" fmla="*/ 1336040 w 4570627"/>
                <a:gd name="connsiteY106" fmla="*/ 2997200 h 4820372"/>
                <a:gd name="connsiteX107" fmla="*/ 1351280 w 4570627"/>
                <a:gd name="connsiteY107" fmla="*/ 2867660 h 4820372"/>
                <a:gd name="connsiteX108" fmla="*/ 1290320 w 4570627"/>
                <a:gd name="connsiteY108" fmla="*/ 2791460 h 4820372"/>
                <a:gd name="connsiteX109" fmla="*/ 1290320 w 4570627"/>
                <a:gd name="connsiteY109" fmla="*/ 2745740 h 4820372"/>
                <a:gd name="connsiteX110" fmla="*/ 1366520 w 4570627"/>
                <a:gd name="connsiteY110" fmla="*/ 2745740 h 4820372"/>
                <a:gd name="connsiteX111" fmla="*/ 1389380 w 4570627"/>
                <a:gd name="connsiteY111" fmla="*/ 2791460 h 4820372"/>
                <a:gd name="connsiteX112" fmla="*/ 1518920 w 4570627"/>
                <a:gd name="connsiteY112" fmla="*/ 2760980 h 4820372"/>
                <a:gd name="connsiteX113" fmla="*/ 1503680 w 4570627"/>
                <a:gd name="connsiteY113" fmla="*/ 2669540 h 4820372"/>
                <a:gd name="connsiteX114" fmla="*/ 1450340 w 4570627"/>
                <a:gd name="connsiteY114" fmla="*/ 2608580 h 4820372"/>
                <a:gd name="connsiteX115" fmla="*/ 1488440 w 4570627"/>
                <a:gd name="connsiteY115" fmla="*/ 2395220 h 4820372"/>
                <a:gd name="connsiteX116" fmla="*/ 1389380 w 4570627"/>
                <a:gd name="connsiteY116" fmla="*/ 2242820 h 4820372"/>
                <a:gd name="connsiteX117" fmla="*/ 1297940 w 4570627"/>
                <a:gd name="connsiteY117" fmla="*/ 2227580 h 4820372"/>
                <a:gd name="connsiteX118" fmla="*/ 1244600 w 4570627"/>
                <a:gd name="connsiteY118" fmla="*/ 2128520 h 4820372"/>
                <a:gd name="connsiteX119" fmla="*/ 1282700 w 4570627"/>
                <a:gd name="connsiteY119" fmla="*/ 2075180 h 4820372"/>
                <a:gd name="connsiteX120" fmla="*/ 1183640 w 4570627"/>
                <a:gd name="connsiteY120" fmla="*/ 1968500 h 4820372"/>
                <a:gd name="connsiteX121" fmla="*/ 1168400 w 4570627"/>
                <a:gd name="connsiteY121" fmla="*/ 1869440 h 4820372"/>
                <a:gd name="connsiteX122" fmla="*/ 1183640 w 4570627"/>
                <a:gd name="connsiteY122" fmla="*/ 1838960 h 4820372"/>
                <a:gd name="connsiteX123" fmla="*/ 1153160 w 4570627"/>
                <a:gd name="connsiteY123" fmla="*/ 1709420 h 4820372"/>
                <a:gd name="connsiteX124" fmla="*/ 1176020 w 4570627"/>
                <a:gd name="connsiteY124" fmla="*/ 1694180 h 4820372"/>
                <a:gd name="connsiteX125" fmla="*/ 1145540 w 4570627"/>
                <a:gd name="connsiteY125" fmla="*/ 1480820 h 4820372"/>
                <a:gd name="connsiteX126" fmla="*/ 1099820 w 4570627"/>
                <a:gd name="connsiteY126" fmla="*/ 1442720 h 4820372"/>
                <a:gd name="connsiteX127" fmla="*/ 1076960 w 4570627"/>
                <a:gd name="connsiteY127" fmla="*/ 1465580 h 4820372"/>
                <a:gd name="connsiteX128" fmla="*/ 1069340 w 4570627"/>
                <a:gd name="connsiteY128" fmla="*/ 1534160 h 4820372"/>
                <a:gd name="connsiteX129" fmla="*/ 970280 w 4570627"/>
                <a:gd name="connsiteY129" fmla="*/ 1541780 h 4820372"/>
                <a:gd name="connsiteX130" fmla="*/ 932180 w 4570627"/>
                <a:gd name="connsiteY130" fmla="*/ 1397000 h 4820372"/>
                <a:gd name="connsiteX131" fmla="*/ 871220 w 4570627"/>
                <a:gd name="connsiteY131" fmla="*/ 1442720 h 4820372"/>
                <a:gd name="connsiteX132" fmla="*/ 855980 w 4570627"/>
                <a:gd name="connsiteY132" fmla="*/ 1397000 h 4820372"/>
                <a:gd name="connsiteX133" fmla="*/ 924560 w 4570627"/>
                <a:gd name="connsiteY133" fmla="*/ 1336040 h 4820372"/>
                <a:gd name="connsiteX134" fmla="*/ 855980 w 4570627"/>
                <a:gd name="connsiteY134" fmla="*/ 1206500 h 4820372"/>
                <a:gd name="connsiteX135" fmla="*/ 825500 w 4570627"/>
                <a:gd name="connsiteY135" fmla="*/ 1153160 h 4820372"/>
                <a:gd name="connsiteX136" fmla="*/ 787400 w 4570627"/>
                <a:gd name="connsiteY136" fmla="*/ 1252220 h 4820372"/>
                <a:gd name="connsiteX137" fmla="*/ 772160 w 4570627"/>
                <a:gd name="connsiteY137" fmla="*/ 1191260 h 4820372"/>
                <a:gd name="connsiteX138" fmla="*/ 688340 w 4570627"/>
                <a:gd name="connsiteY138" fmla="*/ 1244600 h 4820372"/>
                <a:gd name="connsiteX139" fmla="*/ 695960 w 4570627"/>
                <a:gd name="connsiteY139" fmla="*/ 1099820 h 4820372"/>
                <a:gd name="connsiteX140" fmla="*/ 497840 w 4570627"/>
                <a:gd name="connsiteY140" fmla="*/ 1084580 h 4820372"/>
                <a:gd name="connsiteX141" fmla="*/ 353060 w 4570627"/>
                <a:gd name="connsiteY141" fmla="*/ 1137920 h 4820372"/>
                <a:gd name="connsiteX142" fmla="*/ 467360 w 4570627"/>
                <a:gd name="connsiteY142" fmla="*/ 1198880 h 4820372"/>
                <a:gd name="connsiteX143" fmla="*/ 474980 w 4570627"/>
                <a:gd name="connsiteY143" fmla="*/ 1275080 h 4820372"/>
                <a:gd name="connsiteX144" fmla="*/ 391160 w 4570627"/>
                <a:gd name="connsiteY144" fmla="*/ 1275080 h 4820372"/>
                <a:gd name="connsiteX145" fmla="*/ 360680 w 4570627"/>
                <a:gd name="connsiteY145" fmla="*/ 1374140 h 4820372"/>
                <a:gd name="connsiteX146" fmla="*/ 132080 w 4570627"/>
                <a:gd name="connsiteY146" fmla="*/ 1389380 h 4820372"/>
                <a:gd name="connsiteX147" fmla="*/ 69850 w 4570627"/>
                <a:gd name="connsiteY147" fmla="*/ 1356191 h 4820372"/>
                <a:gd name="connsiteX148" fmla="*/ 69850 w 4570627"/>
                <a:gd name="connsiteY148" fmla="*/ 1257300 h 4820372"/>
                <a:gd name="connsiteX149" fmla="*/ 146050 w 4570627"/>
                <a:gd name="connsiteY149" fmla="*/ 1117600 h 4820372"/>
                <a:gd name="connsiteX150" fmla="*/ 82550 w 4570627"/>
                <a:gd name="connsiteY150" fmla="*/ 1016000 h 4820372"/>
                <a:gd name="connsiteX151" fmla="*/ 25400 w 4570627"/>
                <a:gd name="connsiteY151" fmla="*/ 990600 h 4820372"/>
                <a:gd name="connsiteX152" fmla="*/ 31750 w 4570627"/>
                <a:gd name="connsiteY152" fmla="*/ 774700 h 4820372"/>
                <a:gd name="connsiteX153" fmla="*/ 0 w 4570627"/>
                <a:gd name="connsiteY153" fmla="*/ 698500 h 4820372"/>
                <a:gd name="connsiteX154" fmla="*/ 0 w 4570627"/>
                <a:gd name="connsiteY154" fmla="*/ 596900 h 4820372"/>
                <a:gd name="connsiteX155" fmla="*/ 107950 w 4570627"/>
                <a:gd name="connsiteY155" fmla="*/ 577850 h 4820372"/>
                <a:gd name="connsiteX156" fmla="*/ 127000 w 4570627"/>
                <a:gd name="connsiteY156" fmla="*/ 628650 h 4820372"/>
                <a:gd name="connsiteX157" fmla="*/ 215900 w 4570627"/>
                <a:gd name="connsiteY157" fmla="*/ 571500 h 4820372"/>
                <a:gd name="connsiteX158" fmla="*/ 368300 w 4570627"/>
                <a:gd name="connsiteY158" fmla="*/ 571500 h 4820372"/>
                <a:gd name="connsiteX159" fmla="*/ 368300 w 4570627"/>
                <a:gd name="connsiteY159" fmla="*/ 622300 h 4820372"/>
                <a:gd name="connsiteX160" fmla="*/ 495300 w 4570627"/>
                <a:gd name="connsiteY160" fmla="*/ 622300 h 4820372"/>
                <a:gd name="connsiteX161" fmla="*/ 488950 w 4570627"/>
                <a:gd name="connsiteY161" fmla="*/ 533400 h 4820372"/>
                <a:gd name="connsiteX162" fmla="*/ 488950 w 4570627"/>
                <a:gd name="connsiteY162" fmla="*/ 425450 h 4820372"/>
                <a:gd name="connsiteX163" fmla="*/ 596900 w 4570627"/>
                <a:gd name="connsiteY163" fmla="*/ 438150 h 4820372"/>
                <a:gd name="connsiteX164" fmla="*/ 679450 w 4570627"/>
                <a:gd name="connsiteY164" fmla="*/ 336550 h 4820372"/>
                <a:gd name="connsiteX165" fmla="*/ 717550 w 4570627"/>
                <a:gd name="connsiteY165" fmla="*/ 133350 h 4820372"/>
                <a:gd name="connsiteX166" fmla="*/ 812800 w 4570627"/>
                <a:gd name="connsiteY166" fmla="*/ 184150 h 4820372"/>
                <a:gd name="connsiteX167" fmla="*/ 952500 w 4570627"/>
                <a:gd name="connsiteY167" fmla="*/ 88900 h 4820372"/>
                <a:gd name="connsiteX168" fmla="*/ 979517 w 4570627"/>
                <a:gd name="connsiteY168" fmla="*/ 48377 h 4820372"/>
                <a:gd name="connsiteX169" fmla="*/ 977900 w 4570627"/>
                <a:gd name="connsiteY169" fmla="*/ 95250 h 4820372"/>
                <a:gd name="connsiteX170" fmla="*/ 1060450 w 4570627"/>
                <a:gd name="connsiteY170" fmla="*/ 0 h 4820372"/>
                <a:gd name="connsiteX0" fmla="*/ 1060450 w 4570627"/>
                <a:gd name="connsiteY0" fmla="*/ 0 h 4820372"/>
                <a:gd name="connsiteX1" fmla="*/ 1149350 w 4570627"/>
                <a:gd name="connsiteY1" fmla="*/ 38100 h 4820372"/>
                <a:gd name="connsiteX2" fmla="*/ 1263650 w 4570627"/>
                <a:gd name="connsiteY2" fmla="*/ 114300 h 4820372"/>
                <a:gd name="connsiteX3" fmla="*/ 1320800 w 4570627"/>
                <a:gd name="connsiteY3" fmla="*/ 234950 h 4820372"/>
                <a:gd name="connsiteX4" fmla="*/ 1371600 w 4570627"/>
                <a:gd name="connsiteY4" fmla="*/ 215900 h 4820372"/>
                <a:gd name="connsiteX5" fmla="*/ 1479550 w 4570627"/>
                <a:gd name="connsiteY5" fmla="*/ 323850 h 4820372"/>
                <a:gd name="connsiteX6" fmla="*/ 1530350 w 4570627"/>
                <a:gd name="connsiteY6" fmla="*/ 488950 h 4820372"/>
                <a:gd name="connsiteX7" fmla="*/ 1612900 w 4570627"/>
                <a:gd name="connsiteY7" fmla="*/ 533400 h 4820372"/>
                <a:gd name="connsiteX8" fmla="*/ 1638300 w 4570627"/>
                <a:gd name="connsiteY8" fmla="*/ 463550 h 4820372"/>
                <a:gd name="connsiteX9" fmla="*/ 1739900 w 4570627"/>
                <a:gd name="connsiteY9" fmla="*/ 469900 h 4820372"/>
                <a:gd name="connsiteX10" fmla="*/ 1746250 w 4570627"/>
                <a:gd name="connsiteY10" fmla="*/ 419100 h 4820372"/>
                <a:gd name="connsiteX11" fmla="*/ 1689100 w 4570627"/>
                <a:gd name="connsiteY11" fmla="*/ 387350 h 4820372"/>
                <a:gd name="connsiteX12" fmla="*/ 1638300 w 4570627"/>
                <a:gd name="connsiteY12" fmla="*/ 342900 h 4820372"/>
                <a:gd name="connsiteX13" fmla="*/ 1625600 w 4570627"/>
                <a:gd name="connsiteY13" fmla="*/ 292100 h 4820372"/>
                <a:gd name="connsiteX14" fmla="*/ 1778000 w 4570627"/>
                <a:gd name="connsiteY14" fmla="*/ 234950 h 4820372"/>
                <a:gd name="connsiteX15" fmla="*/ 1879600 w 4570627"/>
                <a:gd name="connsiteY15" fmla="*/ 247650 h 4820372"/>
                <a:gd name="connsiteX16" fmla="*/ 1873250 w 4570627"/>
                <a:gd name="connsiteY16" fmla="*/ 311150 h 4820372"/>
                <a:gd name="connsiteX17" fmla="*/ 1981200 w 4570627"/>
                <a:gd name="connsiteY17" fmla="*/ 304800 h 4820372"/>
                <a:gd name="connsiteX18" fmla="*/ 2006600 w 4570627"/>
                <a:gd name="connsiteY18" fmla="*/ 304800 h 4820372"/>
                <a:gd name="connsiteX19" fmla="*/ 2032000 w 4570627"/>
                <a:gd name="connsiteY19" fmla="*/ 406400 h 4820372"/>
                <a:gd name="connsiteX20" fmla="*/ 2133600 w 4570627"/>
                <a:gd name="connsiteY20" fmla="*/ 419100 h 4820372"/>
                <a:gd name="connsiteX21" fmla="*/ 2171700 w 4570627"/>
                <a:gd name="connsiteY21" fmla="*/ 285750 h 4820372"/>
                <a:gd name="connsiteX22" fmla="*/ 2146300 w 4570627"/>
                <a:gd name="connsiteY22" fmla="*/ 146050 h 4820372"/>
                <a:gd name="connsiteX23" fmla="*/ 2216150 w 4570627"/>
                <a:gd name="connsiteY23" fmla="*/ 63500 h 4820372"/>
                <a:gd name="connsiteX24" fmla="*/ 2279650 w 4570627"/>
                <a:gd name="connsiteY24" fmla="*/ 57150 h 4820372"/>
                <a:gd name="connsiteX25" fmla="*/ 2305050 w 4570627"/>
                <a:gd name="connsiteY25" fmla="*/ 152400 h 4820372"/>
                <a:gd name="connsiteX26" fmla="*/ 2374900 w 4570627"/>
                <a:gd name="connsiteY26" fmla="*/ 215900 h 4820372"/>
                <a:gd name="connsiteX27" fmla="*/ 2381250 w 4570627"/>
                <a:gd name="connsiteY27" fmla="*/ 279400 h 4820372"/>
                <a:gd name="connsiteX28" fmla="*/ 2514600 w 4570627"/>
                <a:gd name="connsiteY28" fmla="*/ 228600 h 4820372"/>
                <a:gd name="connsiteX29" fmla="*/ 2641600 w 4570627"/>
                <a:gd name="connsiteY29" fmla="*/ 203200 h 4820372"/>
                <a:gd name="connsiteX30" fmla="*/ 2686050 w 4570627"/>
                <a:gd name="connsiteY30" fmla="*/ 241300 h 4820372"/>
                <a:gd name="connsiteX31" fmla="*/ 2774950 w 4570627"/>
                <a:gd name="connsiteY31" fmla="*/ 190500 h 4820372"/>
                <a:gd name="connsiteX32" fmla="*/ 2796953 w 4570627"/>
                <a:gd name="connsiteY32" fmla="*/ 192596 h 4820372"/>
                <a:gd name="connsiteX33" fmla="*/ 2787650 w 4570627"/>
                <a:gd name="connsiteY33" fmla="*/ 171452 h 4820372"/>
                <a:gd name="connsiteX34" fmla="*/ 2857500 w 4570627"/>
                <a:gd name="connsiteY34" fmla="*/ 330201 h 4820372"/>
                <a:gd name="connsiteX35" fmla="*/ 2971800 w 4570627"/>
                <a:gd name="connsiteY35" fmla="*/ 355601 h 4820372"/>
                <a:gd name="connsiteX36" fmla="*/ 3054350 w 4570627"/>
                <a:gd name="connsiteY36" fmla="*/ 374651 h 4820372"/>
                <a:gd name="connsiteX37" fmla="*/ 3093057 w 4570627"/>
                <a:gd name="connsiteY37" fmla="*/ 529481 h 4820372"/>
                <a:gd name="connsiteX38" fmla="*/ 3011086 w 4570627"/>
                <a:gd name="connsiteY38" fmla="*/ 410623 h 4820372"/>
                <a:gd name="connsiteX39" fmla="*/ 2924805 w 4570627"/>
                <a:gd name="connsiteY39" fmla="*/ 496904 h 4820372"/>
                <a:gd name="connsiteX40" fmla="*/ 3026774 w 4570627"/>
                <a:gd name="connsiteY40" fmla="*/ 606716 h 4820372"/>
                <a:gd name="connsiteX41" fmla="*/ 3050305 w 4570627"/>
                <a:gd name="connsiteY41" fmla="*/ 779278 h 4820372"/>
                <a:gd name="connsiteX42" fmla="*/ 3348367 w 4570627"/>
                <a:gd name="connsiteY42" fmla="*/ 951841 h 4820372"/>
                <a:gd name="connsiteX43" fmla="*/ 3411117 w 4570627"/>
                <a:gd name="connsiteY43" fmla="*/ 1061653 h 4820372"/>
                <a:gd name="connsiteX44" fmla="*/ 3262086 w 4570627"/>
                <a:gd name="connsiteY44" fmla="*/ 1242059 h 4820372"/>
                <a:gd name="connsiteX45" fmla="*/ 3395429 w 4570627"/>
                <a:gd name="connsiteY45" fmla="*/ 1485215 h 4820372"/>
                <a:gd name="connsiteX46" fmla="*/ 3489554 w 4570627"/>
                <a:gd name="connsiteY46" fmla="*/ 1767589 h 4820372"/>
                <a:gd name="connsiteX47" fmla="*/ 3638585 w 4570627"/>
                <a:gd name="connsiteY47" fmla="*/ 1932308 h 4820372"/>
                <a:gd name="connsiteX48" fmla="*/ 3756241 w 4570627"/>
                <a:gd name="connsiteY48" fmla="*/ 1838183 h 4820372"/>
                <a:gd name="connsiteX49" fmla="*/ 3905271 w 4570627"/>
                <a:gd name="connsiteY49" fmla="*/ 2081339 h 4820372"/>
                <a:gd name="connsiteX50" fmla="*/ 4007240 w 4570627"/>
                <a:gd name="connsiteY50" fmla="*/ 2198995 h 4820372"/>
                <a:gd name="connsiteX51" fmla="*/ 4124896 w 4570627"/>
                <a:gd name="connsiteY51" fmla="*/ 2198995 h 4820372"/>
                <a:gd name="connsiteX52" fmla="*/ 4328833 w 4570627"/>
                <a:gd name="connsiteY52" fmla="*/ 2481369 h 4820372"/>
                <a:gd name="connsiteX53" fmla="*/ 4446489 w 4570627"/>
                <a:gd name="connsiteY53" fmla="*/ 2465682 h 4820372"/>
                <a:gd name="connsiteX54" fmla="*/ 4564145 w 4570627"/>
                <a:gd name="connsiteY54" fmla="*/ 2591182 h 4820372"/>
                <a:gd name="connsiteX55" fmla="*/ 4570627 w 4570627"/>
                <a:gd name="connsiteY55" fmla="*/ 2601182 h 4820372"/>
                <a:gd name="connsiteX56" fmla="*/ 4493946 w 4570627"/>
                <a:gd name="connsiteY56" fmla="*/ 2969250 h 4820372"/>
                <a:gd name="connsiteX57" fmla="*/ 4274322 w 4570627"/>
                <a:gd name="connsiteY57" fmla="*/ 2984937 h 4820372"/>
                <a:gd name="connsiteX58" fmla="*/ 4180197 w 4570627"/>
                <a:gd name="connsiteY58" fmla="*/ 3314374 h 4820372"/>
                <a:gd name="connsiteX59" fmla="*/ 3819386 w 4570627"/>
                <a:gd name="connsiteY59" fmla="*/ 3439874 h 4820372"/>
                <a:gd name="connsiteX60" fmla="*/ 3552699 w 4570627"/>
                <a:gd name="connsiteY60" fmla="*/ 3596749 h 4820372"/>
                <a:gd name="connsiteX61" fmla="*/ 3552699 w 4570627"/>
                <a:gd name="connsiteY61" fmla="*/ 3706561 h 4820372"/>
                <a:gd name="connsiteX62" fmla="*/ 3788011 w 4570627"/>
                <a:gd name="connsiteY62" fmla="*/ 3910498 h 4820372"/>
                <a:gd name="connsiteX63" fmla="*/ 3772323 w 4570627"/>
                <a:gd name="connsiteY63" fmla="*/ 4130123 h 4820372"/>
                <a:gd name="connsiteX64" fmla="*/ 3866448 w 4570627"/>
                <a:gd name="connsiteY64" fmla="*/ 4239935 h 4820372"/>
                <a:gd name="connsiteX65" fmla="*/ 3897823 w 4570627"/>
                <a:gd name="connsiteY65" fmla="*/ 4475248 h 4820372"/>
                <a:gd name="connsiteX66" fmla="*/ 3819386 w 4570627"/>
                <a:gd name="connsiteY66" fmla="*/ 4585060 h 4820372"/>
                <a:gd name="connsiteX67" fmla="*/ 3662511 w 4570627"/>
                <a:gd name="connsiteY67" fmla="*/ 4506622 h 4820372"/>
                <a:gd name="connsiteX68" fmla="*/ 3615449 w 4570627"/>
                <a:gd name="connsiteY68" fmla="*/ 4428185 h 4820372"/>
                <a:gd name="connsiteX69" fmla="*/ 3615449 w 4570627"/>
                <a:gd name="connsiteY69" fmla="*/ 4286998 h 4820372"/>
                <a:gd name="connsiteX70" fmla="*/ 3458574 w 4570627"/>
                <a:gd name="connsiteY70" fmla="*/ 4224248 h 4820372"/>
                <a:gd name="connsiteX71" fmla="*/ 3395824 w 4570627"/>
                <a:gd name="connsiteY71" fmla="*/ 4349748 h 4820372"/>
                <a:gd name="connsiteX72" fmla="*/ 3160513 w 4570627"/>
                <a:gd name="connsiteY72" fmla="*/ 4271310 h 4820372"/>
                <a:gd name="connsiteX73" fmla="*/ 3144825 w 4570627"/>
                <a:gd name="connsiteY73" fmla="*/ 4208560 h 4820372"/>
                <a:gd name="connsiteX74" fmla="*/ 2940888 w 4570627"/>
                <a:gd name="connsiteY74" fmla="*/ 4286998 h 4820372"/>
                <a:gd name="connsiteX75" fmla="*/ 2831076 w 4570627"/>
                <a:gd name="connsiteY75" fmla="*/ 4396810 h 4820372"/>
                <a:gd name="connsiteX76" fmla="*/ 2564389 w 4570627"/>
                <a:gd name="connsiteY76" fmla="*/ 4428185 h 4820372"/>
                <a:gd name="connsiteX77" fmla="*/ 2329077 w 4570627"/>
                <a:gd name="connsiteY77" fmla="*/ 4443873 h 4820372"/>
                <a:gd name="connsiteX78" fmla="*/ 2125140 w 4570627"/>
                <a:gd name="connsiteY78" fmla="*/ 4632122 h 4820372"/>
                <a:gd name="connsiteX79" fmla="*/ 1936891 w 4570627"/>
                <a:gd name="connsiteY79" fmla="*/ 4679185 h 4820372"/>
                <a:gd name="connsiteX80" fmla="*/ 1717266 w 4570627"/>
                <a:gd name="connsiteY80" fmla="*/ 4569372 h 4820372"/>
                <a:gd name="connsiteX81" fmla="*/ 1701579 w 4570627"/>
                <a:gd name="connsiteY81" fmla="*/ 4443873 h 4820372"/>
                <a:gd name="connsiteX82" fmla="*/ 1576079 w 4570627"/>
                <a:gd name="connsiteY82" fmla="*/ 4396810 h 4820372"/>
                <a:gd name="connsiteX83" fmla="*/ 1419205 w 4570627"/>
                <a:gd name="connsiteY83" fmla="*/ 4396810 h 4820372"/>
                <a:gd name="connsiteX84" fmla="*/ 1340768 w 4570627"/>
                <a:gd name="connsiteY84" fmla="*/ 4490935 h 4820372"/>
                <a:gd name="connsiteX85" fmla="*/ 1309393 w 4570627"/>
                <a:gd name="connsiteY85" fmla="*/ 4647810 h 4820372"/>
                <a:gd name="connsiteX86" fmla="*/ 1246643 w 4570627"/>
                <a:gd name="connsiteY86" fmla="*/ 4741935 h 4820372"/>
                <a:gd name="connsiteX87" fmla="*/ 1152518 w 4570627"/>
                <a:gd name="connsiteY87" fmla="*/ 4820372 h 4820372"/>
                <a:gd name="connsiteX88" fmla="*/ 964268 w 4570627"/>
                <a:gd name="connsiteY88" fmla="*/ 4773310 h 4820372"/>
                <a:gd name="connsiteX89" fmla="*/ 948581 w 4570627"/>
                <a:gd name="connsiteY89" fmla="*/ 4506622 h 4820372"/>
                <a:gd name="connsiteX90" fmla="*/ 807394 w 4570627"/>
                <a:gd name="connsiteY90" fmla="*/ 4412498 h 4820372"/>
                <a:gd name="connsiteX91" fmla="*/ 773692 w 4570627"/>
                <a:gd name="connsiteY91" fmla="*/ 4412498 h 4820372"/>
                <a:gd name="connsiteX92" fmla="*/ 802640 w 4570627"/>
                <a:gd name="connsiteY92" fmla="*/ 4361180 h 4820372"/>
                <a:gd name="connsiteX93" fmla="*/ 894080 w 4570627"/>
                <a:gd name="connsiteY93" fmla="*/ 4262120 h 4820372"/>
                <a:gd name="connsiteX94" fmla="*/ 1122680 w 4570627"/>
                <a:gd name="connsiteY94" fmla="*/ 4292600 h 4820372"/>
                <a:gd name="connsiteX95" fmla="*/ 1168400 w 4570627"/>
                <a:gd name="connsiteY95" fmla="*/ 4224020 h 4820372"/>
                <a:gd name="connsiteX96" fmla="*/ 1122680 w 4570627"/>
                <a:gd name="connsiteY96" fmla="*/ 4094480 h 4820372"/>
                <a:gd name="connsiteX97" fmla="*/ 1160780 w 4570627"/>
                <a:gd name="connsiteY97" fmla="*/ 4041140 h 4820372"/>
                <a:gd name="connsiteX98" fmla="*/ 1130300 w 4570627"/>
                <a:gd name="connsiteY98" fmla="*/ 3949700 h 4820372"/>
                <a:gd name="connsiteX99" fmla="*/ 1160780 w 4570627"/>
                <a:gd name="connsiteY99" fmla="*/ 3629660 h 4820372"/>
                <a:gd name="connsiteX100" fmla="*/ 1038860 w 4570627"/>
                <a:gd name="connsiteY100" fmla="*/ 3218180 h 4820372"/>
                <a:gd name="connsiteX101" fmla="*/ 1130300 w 4570627"/>
                <a:gd name="connsiteY101" fmla="*/ 3058160 h 4820372"/>
                <a:gd name="connsiteX102" fmla="*/ 1183640 w 4570627"/>
                <a:gd name="connsiteY102" fmla="*/ 3096260 h 4820372"/>
                <a:gd name="connsiteX103" fmla="*/ 1336040 w 4570627"/>
                <a:gd name="connsiteY103" fmla="*/ 2997200 h 4820372"/>
                <a:gd name="connsiteX104" fmla="*/ 1351280 w 4570627"/>
                <a:gd name="connsiteY104" fmla="*/ 2867660 h 4820372"/>
                <a:gd name="connsiteX105" fmla="*/ 1290320 w 4570627"/>
                <a:gd name="connsiteY105" fmla="*/ 2791460 h 4820372"/>
                <a:gd name="connsiteX106" fmla="*/ 1290320 w 4570627"/>
                <a:gd name="connsiteY106" fmla="*/ 2745740 h 4820372"/>
                <a:gd name="connsiteX107" fmla="*/ 1366520 w 4570627"/>
                <a:gd name="connsiteY107" fmla="*/ 2745740 h 4820372"/>
                <a:gd name="connsiteX108" fmla="*/ 1389380 w 4570627"/>
                <a:gd name="connsiteY108" fmla="*/ 2791460 h 4820372"/>
                <a:gd name="connsiteX109" fmla="*/ 1518920 w 4570627"/>
                <a:gd name="connsiteY109" fmla="*/ 2760980 h 4820372"/>
                <a:gd name="connsiteX110" fmla="*/ 1503680 w 4570627"/>
                <a:gd name="connsiteY110" fmla="*/ 2669540 h 4820372"/>
                <a:gd name="connsiteX111" fmla="*/ 1450340 w 4570627"/>
                <a:gd name="connsiteY111" fmla="*/ 2608580 h 4820372"/>
                <a:gd name="connsiteX112" fmla="*/ 1488440 w 4570627"/>
                <a:gd name="connsiteY112" fmla="*/ 2395220 h 4820372"/>
                <a:gd name="connsiteX113" fmla="*/ 1389380 w 4570627"/>
                <a:gd name="connsiteY113" fmla="*/ 2242820 h 4820372"/>
                <a:gd name="connsiteX114" fmla="*/ 1297940 w 4570627"/>
                <a:gd name="connsiteY114" fmla="*/ 2227580 h 4820372"/>
                <a:gd name="connsiteX115" fmla="*/ 1244600 w 4570627"/>
                <a:gd name="connsiteY115" fmla="*/ 2128520 h 4820372"/>
                <a:gd name="connsiteX116" fmla="*/ 1282700 w 4570627"/>
                <a:gd name="connsiteY116" fmla="*/ 2075180 h 4820372"/>
                <a:gd name="connsiteX117" fmla="*/ 1183640 w 4570627"/>
                <a:gd name="connsiteY117" fmla="*/ 1968500 h 4820372"/>
                <a:gd name="connsiteX118" fmla="*/ 1168400 w 4570627"/>
                <a:gd name="connsiteY118" fmla="*/ 1869440 h 4820372"/>
                <a:gd name="connsiteX119" fmla="*/ 1183640 w 4570627"/>
                <a:gd name="connsiteY119" fmla="*/ 1838960 h 4820372"/>
                <a:gd name="connsiteX120" fmla="*/ 1153160 w 4570627"/>
                <a:gd name="connsiteY120" fmla="*/ 1709420 h 4820372"/>
                <a:gd name="connsiteX121" fmla="*/ 1176020 w 4570627"/>
                <a:gd name="connsiteY121" fmla="*/ 1694180 h 4820372"/>
                <a:gd name="connsiteX122" fmla="*/ 1145540 w 4570627"/>
                <a:gd name="connsiteY122" fmla="*/ 1480820 h 4820372"/>
                <a:gd name="connsiteX123" fmla="*/ 1099820 w 4570627"/>
                <a:gd name="connsiteY123" fmla="*/ 1442720 h 4820372"/>
                <a:gd name="connsiteX124" fmla="*/ 1076960 w 4570627"/>
                <a:gd name="connsiteY124" fmla="*/ 1465580 h 4820372"/>
                <a:gd name="connsiteX125" fmla="*/ 1069340 w 4570627"/>
                <a:gd name="connsiteY125" fmla="*/ 1534160 h 4820372"/>
                <a:gd name="connsiteX126" fmla="*/ 970280 w 4570627"/>
                <a:gd name="connsiteY126" fmla="*/ 1541780 h 4820372"/>
                <a:gd name="connsiteX127" fmla="*/ 932180 w 4570627"/>
                <a:gd name="connsiteY127" fmla="*/ 1397000 h 4820372"/>
                <a:gd name="connsiteX128" fmla="*/ 871220 w 4570627"/>
                <a:gd name="connsiteY128" fmla="*/ 1442720 h 4820372"/>
                <a:gd name="connsiteX129" fmla="*/ 855980 w 4570627"/>
                <a:gd name="connsiteY129" fmla="*/ 1397000 h 4820372"/>
                <a:gd name="connsiteX130" fmla="*/ 924560 w 4570627"/>
                <a:gd name="connsiteY130" fmla="*/ 1336040 h 4820372"/>
                <a:gd name="connsiteX131" fmla="*/ 855980 w 4570627"/>
                <a:gd name="connsiteY131" fmla="*/ 1206500 h 4820372"/>
                <a:gd name="connsiteX132" fmla="*/ 825500 w 4570627"/>
                <a:gd name="connsiteY132" fmla="*/ 1153160 h 4820372"/>
                <a:gd name="connsiteX133" fmla="*/ 787400 w 4570627"/>
                <a:gd name="connsiteY133" fmla="*/ 1252220 h 4820372"/>
                <a:gd name="connsiteX134" fmla="*/ 772160 w 4570627"/>
                <a:gd name="connsiteY134" fmla="*/ 1191260 h 4820372"/>
                <a:gd name="connsiteX135" fmla="*/ 688340 w 4570627"/>
                <a:gd name="connsiteY135" fmla="*/ 1244600 h 4820372"/>
                <a:gd name="connsiteX136" fmla="*/ 695960 w 4570627"/>
                <a:gd name="connsiteY136" fmla="*/ 1099820 h 4820372"/>
                <a:gd name="connsiteX137" fmla="*/ 497840 w 4570627"/>
                <a:gd name="connsiteY137" fmla="*/ 1084580 h 4820372"/>
                <a:gd name="connsiteX138" fmla="*/ 353060 w 4570627"/>
                <a:gd name="connsiteY138" fmla="*/ 1137920 h 4820372"/>
                <a:gd name="connsiteX139" fmla="*/ 467360 w 4570627"/>
                <a:gd name="connsiteY139" fmla="*/ 1198880 h 4820372"/>
                <a:gd name="connsiteX140" fmla="*/ 474980 w 4570627"/>
                <a:gd name="connsiteY140" fmla="*/ 1275080 h 4820372"/>
                <a:gd name="connsiteX141" fmla="*/ 391160 w 4570627"/>
                <a:gd name="connsiteY141" fmla="*/ 1275080 h 4820372"/>
                <a:gd name="connsiteX142" fmla="*/ 360680 w 4570627"/>
                <a:gd name="connsiteY142" fmla="*/ 1374140 h 4820372"/>
                <a:gd name="connsiteX143" fmla="*/ 132080 w 4570627"/>
                <a:gd name="connsiteY143" fmla="*/ 1389380 h 4820372"/>
                <a:gd name="connsiteX144" fmla="*/ 69850 w 4570627"/>
                <a:gd name="connsiteY144" fmla="*/ 1356191 h 4820372"/>
                <a:gd name="connsiteX145" fmla="*/ 69850 w 4570627"/>
                <a:gd name="connsiteY145" fmla="*/ 1257300 h 4820372"/>
                <a:gd name="connsiteX146" fmla="*/ 146050 w 4570627"/>
                <a:gd name="connsiteY146" fmla="*/ 1117600 h 4820372"/>
                <a:gd name="connsiteX147" fmla="*/ 82550 w 4570627"/>
                <a:gd name="connsiteY147" fmla="*/ 1016000 h 4820372"/>
                <a:gd name="connsiteX148" fmla="*/ 25400 w 4570627"/>
                <a:gd name="connsiteY148" fmla="*/ 990600 h 4820372"/>
                <a:gd name="connsiteX149" fmla="*/ 31750 w 4570627"/>
                <a:gd name="connsiteY149" fmla="*/ 774700 h 4820372"/>
                <a:gd name="connsiteX150" fmla="*/ 0 w 4570627"/>
                <a:gd name="connsiteY150" fmla="*/ 698500 h 4820372"/>
                <a:gd name="connsiteX151" fmla="*/ 0 w 4570627"/>
                <a:gd name="connsiteY151" fmla="*/ 596900 h 4820372"/>
                <a:gd name="connsiteX152" fmla="*/ 107950 w 4570627"/>
                <a:gd name="connsiteY152" fmla="*/ 577850 h 4820372"/>
                <a:gd name="connsiteX153" fmla="*/ 127000 w 4570627"/>
                <a:gd name="connsiteY153" fmla="*/ 628650 h 4820372"/>
                <a:gd name="connsiteX154" fmla="*/ 215900 w 4570627"/>
                <a:gd name="connsiteY154" fmla="*/ 571500 h 4820372"/>
                <a:gd name="connsiteX155" fmla="*/ 368300 w 4570627"/>
                <a:gd name="connsiteY155" fmla="*/ 571500 h 4820372"/>
                <a:gd name="connsiteX156" fmla="*/ 368300 w 4570627"/>
                <a:gd name="connsiteY156" fmla="*/ 622300 h 4820372"/>
                <a:gd name="connsiteX157" fmla="*/ 495300 w 4570627"/>
                <a:gd name="connsiteY157" fmla="*/ 622300 h 4820372"/>
                <a:gd name="connsiteX158" fmla="*/ 488950 w 4570627"/>
                <a:gd name="connsiteY158" fmla="*/ 533400 h 4820372"/>
                <a:gd name="connsiteX159" fmla="*/ 488950 w 4570627"/>
                <a:gd name="connsiteY159" fmla="*/ 425450 h 4820372"/>
                <a:gd name="connsiteX160" fmla="*/ 596900 w 4570627"/>
                <a:gd name="connsiteY160" fmla="*/ 438150 h 4820372"/>
                <a:gd name="connsiteX161" fmla="*/ 679450 w 4570627"/>
                <a:gd name="connsiteY161" fmla="*/ 336550 h 4820372"/>
                <a:gd name="connsiteX162" fmla="*/ 717550 w 4570627"/>
                <a:gd name="connsiteY162" fmla="*/ 133350 h 4820372"/>
                <a:gd name="connsiteX163" fmla="*/ 812800 w 4570627"/>
                <a:gd name="connsiteY163" fmla="*/ 184150 h 4820372"/>
                <a:gd name="connsiteX164" fmla="*/ 952500 w 4570627"/>
                <a:gd name="connsiteY164" fmla="*/ 88900 h 4820372"/>
                <a:gd name="connsiteX165" fmla="*/ 979517 w 4570627"/>
                <a:gd name="connsiteY165" fmla="*/ 48377 h 4820372"/>
                <a:gd name="connsiteX166" fmla="*/ 977900 w 4570627"/>
                <a:gd name="connsiteY166" fmla="*/ 95250 h 4820372"/>
                <a:gd name="connsiteX167" fmla="*/ 1060450 w 4570627"/>
                <a:gd name="connsiteY167" fmla="*/ 0 h 482037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</a:cxnLst>
              <a:rect l="l" t="t" r="r" b="b"/>
              <a:pathLst>
                <a:path w="4570627" h="4820372">
                  <a:moveTo>
                    <a:pt x="1060450" y="0"/>
                  </a:moveTo>
                  <a:lnTo>
                    <a:pt x="1149350" y="38100"/>
                  </a:lnTo>
                  <a:lnTo>
                    <a:pt x="1263650" y="114300"/>
                  </a:lnTo>
                  <a:lnTo>
                    <a:pt x="1320800" y="234950"/>
                  </a:lnTo>
                  <a:lnTo>
                    <a:pt x="1371600" y="215900"/>
                  </a:lnTo>
                  <a:lnTo>
                    <a:pt x="1479550" y="323850"/>
                  </a:lnTo>
                  <a:lnTo>
                    <a:pt x="1530350" y="488950"/>
                  </a:lnTo>
                  <a:lnTo>
                    <a:pt x="1612900" y="533400"/>
                  </a:lnTo>
                  <a:lnTo>
                    <a:pt x="1638300" y="463550"/>
                  </a:lnTo>
                  <a:lnTo>
                    <a:pt x="1739900" y="469900"/>
                  </a:lnTo>
                  <a:lnTo>
                    <a:pt x="1746250" y="419100"/>
                  </a:lnTo>
                  <a:lnTo>
                    <a:pt x="1689100" y="387350"/>
                  </a:lnTo>
                  <a:lnTo>
                    <a:pt x="1638300" y="342900"/>
                  </a:lnTo>
                  <a:lnTo>
                    <a:pt x="1625600" y="292100"/>
                  </a:lnTo>
                  <a:lnTo>
                    <a:pt x="1778000" y="234950"/>
                  </a:lnTo>
                  <a:lnTo>
                    <a:pt x="1879600" y="247650"/>
                  </a:lnTo>
                  <a:lnTo>
                    <a:pt x="1873250" y="311150"/>
                  </a:lnTo>
                  <a:lnTo>
                    <a:pt x="1981200" y="304800"/>
                  </a:lnTo>
                  <a:lnTo>
                    <a:pt x="2006600" y="304800"/>
                  </a:lnTo>
                  <a:lnTo>
                    <a:pt x="2032000" y="406400"/>
                  </a:lnTo>
                  <a:lnTo>
                    <a:pt x="2133600" y="419100"/>
                  </a:lnTo>
                  <a:lnTo>
                    <a:pt x="2171700" y="285750"/>
                  </a:lnTo>
                  <a:lnTo>
                    <a:pt x="2146300" y="146050"/>
                  </a:lnTo>
                  <a:lnTo>
                    <a:pt x="2216150" y="63500"/>
                  </a:lnTo>
                  <a:lnTo>
                    <a:pt x="2279650" y="57150"/>
                  </a:lnTo>
                  <a:lnTo>
                    <a:pt x="2305050" y="152400"/>
                  </a:lnTo>
                  <a:lnTo>
                    <a:pt x="2374900" y="215900"/>
                  </a:lnTo>
                  <a:lnTo>
                    <a:pt x="2381250" y="279400"/>
                  </a:lnTo>
                  <a:lnTo>
                    <a:pt x="2514600" y="228600"/>
                  </a:lnTo>
                  <a:lnTo>
                    <a:pt x="2641600" y="203200"/>
                  </a:lnTo>
                  <a:lnTo>
                    <a:pt x="2686050" y="241300"/>
                  </a:lnTo>
                  <a:lnTo>
                    <a:pt x="2774950" y="190500"/>
                  </a:lnTo>
                  <a:lnTo>
                    <a:pt x="2796953" y="192596"/>
                  </a:lnTo>
                  <a:lnTo>
                    <a:pt x="2787650" y="171452"/>
                  </a:lnTo>
                  <a:lnTo>
                    <a:pt x="2857500" y="330201"/>
                  </a:lnTo>
                  <a:lnTo>
                    <a:pt x="2971800" y="355601"/>
                  </a:lnTo>
                  <a:lnTo>
                    <a:pt x="3054350" y="374651"/>
                  </a:lnTo>
                  <a:lnTo>
                    <a:pt x="3093057" y="529481"/>
                  </a:lnTo>
                  <a:lnTo>
                    <a:pt x="3011086" y="410623"/>
                  </a:lnTo>
                  <a:lnTo>
                    <a:pt x="2924805" y="496904"/>
                  </a:lnTo>
                  <a:lnTo>
                    <a:pt x="3026774" y="606716"/>
                  </a:lnTo>
                  <a:lnTo>
                    <a:pt x="3050305" y="779278"/>
                  </a:lnTo>
                  <a:lnTo>
                    <a:pt x="3348367" y="951841"/>
                  </a:lnTo>
                  <a:lnTo>
                    <a:pt x="3411117" y="1061653"/>
                  </a:lnTo>
                  <a:lnTo>
                    <a:pt x="3262086" y="1242059"/>
                  </a:lnTo>
                  <a:lnTo>
                    <a:pt x="3395429" y="1485215"/>
                  </a:lnTo>
                  <a:lnTo>
                    <a:pt x="3489554" y="1767589"/>
                  </a:lnTo>
                  <a:lnTo>
                    <a:pt x="3638585" y="1932308"/>
                  </a:lnTo>
                  <a:lnTo>
                    <a:pt x="3756241" y="1838183"/>
                  </a:lnTo>
                  <a:lnTo>
                    <a:pt x="3905271" y="2081339"/>
                  </a:lnTo>
                  <a:lnTo>
                    <a:pt x="4007240" y="2198995"/>
                  </a:lnTo>
                  <a:lnTo>
                    <a:pt x="4124896" y="2198995"/>
                  </a:lnTo>
                  <a:lnTo>
                    <a:pt x="4328833" y="2481369"/>
                  </a:lnTo>
                  <a:lnTo>
                    <a:pt x="4446489" y="2465682"/>
                  </a:lnTo>
                  <a:lnTo>
                    <a:pt x="4564145" y="2591182"/>
                  </a:lnTo>
                  <a:lnTo>
                    <a:pt x="4570627" y="2601182"/>
                  </a:lnTo>
                  <a:lnTo>
                    <a:pt x="4493946" y="2969250"/>
                  </a:lnTo>
                  <a:lnTo>
                    <a:pt x="4274322" y="2984937"/>
                  </a:lnTo>
                  <a:lnTo>
                    <a:pt x="4180197" y="3314374"/>
                  </a:lnTo>
                  <a:lnTo>
                    <a:pt x="3819386" y="3439874"/>
                  </a:lnTo>
                  <a:lnTo>
                    <a:pt x="3552699" y="3596749"/>
                  </a:lnTo>
                  <a:lnTo>
                    <a:pt x="3552699" y="3706561"/>
                  </a:lnTo>
                  <a:lnTo>
                    <a:pt x="3788011" y="3910498"/>
                  </a:lnTo>
                  <a:lnTo>
                    <a:pt x="3772323" y="4130123"/>
                  </a:lnTo>
                  <a:lnTo>
                    <a:pt x="3866448" y="4239935"/>
                  </a:lnTo>
                  <a:lnTo>
                    <a:pt x="3897823" y="4475248"/>
                  </a:lnTo>
                  <a:lnTo>
                    <a:pt x="3819386" y="4585060"/>
                  </a:lnTo>
                  <a:lnTo>
                    <a:pt x="3662511" y="4506622"/>
                  </a:lnTo>
                  <a:lnTo>
                    <a:pt x="3615449" y="4428185"/>
                  </a:lnTo>
                  <a:lnTo>
                    <a:pt x="3615449" y="4286998"/>
                  </a:lnTo>
                  <a:lnTo>
                    <a:pt x="3458574" y="4224248"/>
                  </a:lnTo>
                  <a:lnTo>
                    <a:pt x="3395824" y="4349748"/>
                  </a:lnTo>
                  <a:lnTo>
                    <a:pt x="3160513" y="4271310"/>
                  </a:lnTo>
                  <a:lnTo>
                    <a:pt x="3144825" y="4208560"/>
                  </a:lnTo>
                  <a:lnTo>
                    <a:pt x="2940888" y="4286998"/>
                  </a:lnTo>
                  <a:lnTo>
                    <a:pt x="2831076" y="4396810"/>
                  </a:lnTo>
                  <a:cubicBezTo>
                    <a:pt x="2627645" y="4433798"/>
                    <a:pt x="2716977" y="4428185"/>
                    <a:pt x="2564389" y="4428185"/>
                  </a:cubicBezTo>
                  <a:lnTo>
                    <a:pt x="2329077" y="4443873"/>
                  </a:lnTo>
                  <a:lnTo>
                    <a:pt x="2125140" y="4632122"/>
                  </a:lnTo>
                  <a:lnTo>
                    <a:pt x="1936891" y="4679185"/>
                  </a:lnTo>
                  <a:lnTo>
                    <a:pt x="1717266" y="4569372"/>
                  </a:lnTo>
                  <a:lnTo>
                    <a:pt x="1701579" y="4443873"/>
                  </a:lnTo>
                  <a:lnTo>
                    <a:pt x="1576079" y="4396810"/>
                  </a:lnTo>
                  <a:lnTo>
                    <a:pt x="1419205" y="4396810"/>
                  </a:lnTo>
                  <a:lnTo>
                    <a:pt x="1340768" y="4490935"/>
                  </a:lnTo>
                  <a:cubicBezTo>
                    <a:pt x="1324262" y="4639472"/>
                    <a:pt x="1358562" y="4598640"/>
                    <a:pt x="1309393" y="4647810"/>
                  </a:cubicBezTo>
                  <a:lnTo>
                    <a:pt x="1246643" y="4741935"/>
                  </a:lnTo>
                  <a:lnTo>
                    <a:pt x="1152518" y="4820372"/>
                  </a:lnTo>
                  <a:lnTo>
                    <a:pt x="964268" y="4773310"/>
                  </a:lnTo>
                  <a:lnTo>
                    <a:pt x="948581" y="4506622"/>
                  </a:lnTo>
                  <a:lnTo>
                    <a:pt x="807394" y="4412498"/>
                  </a:lnTo>
                  <a:lnTo>
                    <a:pt x="773692" y="4412498"/>
                  </a:lnTo>
                  <a:lnTo>
                    <a:pt x="802640" y="4361180"/>
                  </a:lnTo>
                  <a:lnTo>
                    <a:pt x="894080" y="4262120"/>
                  </a:lnTo>
                  <a:lnTo>
                    <a:pt x="1122680" y="4292600"/>
                  </a:lnTo>
                  <a:lnTo>
                    <a:pt x="1168400" y="4224020"/>
                  </a:lnTo>
                  <a:lnTo>
                    <a:pt x="1122680" y="4094480"/>
                  </a:lnTo>
                  <a:lnTo>
                    <a:pt x="1160780" y="4041140"/>
                  </a:lnTo>
                  <a:lnTo>
                    <a:pt x="1130300" y="3949700"/>
                  </a:lnTo>
                  <a:lnTo>
                    <a:pt x="1160780" y="3629660"/>
                  </a:lnTo>
                  <a:lnTo>
                    <a:pt x="1038860" y="3218180"/>
                  </a:lnTo>
                  <a:lnTo>
                    <a:pt x="1130300" y="3058160"/>
                  </a:lnTo>
                  <a:lnTo>
                    <a:pt x="1183640" y="3096260"/>
                  </a:lnTo>
                  <a:lnTo>
                    <a:pt x="1336040" y="2997200"/>
                  </a:lnTo>
                  <a:lnTo>
                    <a:pt x="1351280" y="2867660"/>
                  </a:lnTo>
                  <a:lnTo>
                    <a:pt x="1290320" y="2791460"/>
                  </a:lnTo>
                  <a:lnTo>
                    <a:pt x="1290320" y="2745740"/>
                  </a:lnTo>
                  <a:lnTo>
                    <a:pt x="1366520" y="2745740"/>
                  </a:lnTo>
                  <a:lnTo>
                    <a:pt x="1389380" y="2791460"/>
                  </a:lnTo>
                  <a:lnTo>
                    <a:pt x="1518920" y="2760980"/>
                  </a:lnTo>
                  <a:lnTo>
                    <a:pt x="1503680" y="2669540"/>
                  </a:lnTo>
                  <a:lnTo>
                    <a:pt x="1450340" y="2608580"/>
                  </a:lnTo>
                  <a:lnTo>
                    <a:pt x="1488440" y="2395220"/>
                  </a:lnTo>
                  <a:lnTo>
                    <a:pt x="1389380" y="2242820"/>
                  </a:lnTo>
                  <a:lnTo>
                    <a:pt x="1297940" y="2227580"/>
                  </a:lnTo>
                  <a:lnTo>
                    <a:pt x="1244600" y="2128520"/>
                  </a:lnTo>
                  <a:lnTo>
                    <a:pt x="1282700" y="2075180"/>
                  </a:lnTo>
                  <a:lnTo>
                    <a:pt x="1183640" y="1968500"/>
                  </a:lnTo>
                  <a:lnTo>
                    <a:pt x="1168400" y="1869440"/>
                  </a:lnTo>
                  <a:lnTo>
                    <a:pt x="1183640" y="1838960"/>
                  </a:lnTo>
                  <a:lnTo>
                    <a:pt x="1153160" y="1709420"/>
                  </a:lnTo>
                  <a:lnTo>
                    <a:pt x="1176020" y="1694180"/>
                  </a:lnTo>
                  <a:lnTo>
                    <a:pt x="1145540" y="1480820"/>
                  </a:lnTo>
                  <a:lnTo>
                    <a:pt x="1099820" y="1442720"/>
                  </a:lnTo>
                  <a:lnTo>
                    <a:pt x="1076960" y="1465580"/>
                  </a:lnTo>
                  <a:lnTo>
                    <a:pt x="1069340" y="1534160"/>
                  </a:lnTo>
                  <a:lnTo>
                    <a:pt x="970280" y="1541780"/>
                  </a:lnTo>
                  <a:lnTo>
                    <a:pt x="932180" y="1397000"/>
                  </a:lnTo>
                  <a:lnTo>
                    <a:pt x="871220" y="1442720"/>
                  </a:lnTo>
                  <a:lnTo>
                    <a:pt x="855980" y="1397000"/>
                  </a:lnTo>
                  <a:lnTo>
                    <a:pt x="924560" y="1336040"/>
                  </a:lnTo>
                  <a:lnTo>
                    <a:pt x="855980" y="1206500"/>
                  </a:lnTo>
                  <a:lnTo>
                    <a:pt x="825500" y="1153160"/>
                  </a:lnTo>
                  <a:lnTo>
                    <a:pt x="787400" y="1252220"/>
                  </a:lnTo>
                  <a:lnTo>
                    <a:pt x="772160" y="1191260"/>
                  </a:lnTo>
                  <a:lnTo>
                    <a:pt x="688340" y="1244600"/>
                  </a:lnTo>
                  <a:lnTo>
                    <a:pt x="695960" y="1099820"/>
                  </a:lnTo>
                  <a:lnTo>
                    <a:pt x="497840" y="1084580"/>
                  </a:lnTo>
                  <a:lnTo>
                    <a:pt x="353060" y="1137920"/>
                  </a:lnTo>
                  <a:lnTo>
                    <a:pt x="467360" y="1198880"/>
                  </a:lnTo>
                  <a:lnTo>
                    <a:pt x="474980" y="1275080"/>
                  </a:lnTo>
                  <a:lnTo>
                    <a:pt x="391160" y="1275080"/>
                  </a:lnTo>
                  <a:lnTo>
                    <a:pt x="360680" y="1374140"/>
                  </a:lnTo>
                  <a:lnTo>
                    <a:pt x="132080" y="1389380"/>
                  </a:lnTo>
                  <a:lnTo>
                    <a:pt x="69850" y="1356191"/>
                  </a:lnTo>
                  <a:lnTo>
                    <a:pt x="69850" y="1257300"/>
                  </a:lnTo>
                  <a:lnTo>
                    <a:pt x="146050" y="1117600"/>
                  </a:lnTo>
                  <a:lnTo>
                    <a:pt x="82550" y="1016000"/>
                  </a:lnTo>
                  <a:lnTo>
                    <a:pt x="25400" y="990600"/>
                  </a:lnTo>
                  <a:lnTo>
                    <a:pt x="31750" y="774700"/>
                  </a:lnTo>
                  <a:lnTo>
                    <a:pt x="0" y="698500"/>
                  </a:lnTo>
                  <a:lnTo>
                    <a:pt x="0" y="596900"/>
                  </a:lnTo>
                  <a:lnTo>
                    <a:pt x="107950" y="577850"/>
                  </a:lnTo>
                  <a:lnTo>
                    <a:pt x="127000" y="628650"/>
                  </a:lnTo>
                  <a:lnTo>
                    <a:pt x="215900" y="571500"/>
                  </a:lnTo>
                  <a:lnTo>
                    <a:pt x="368300" y="571500"/>
                  </a:lnTo>
                  <a:lnTo>
                    <a:pt x="368300" y="622300"/>
                  </a:lnTo>
                  <a:lnTo>
                    <a:pt x="495300" y="622300"/>
                  </a:lnTo>
                  <a:lnTo>
                    <a:pt x="488950" y="533400"/>
                  </a:lnTo>
                  <a:lnTo>
                    <a:pt x="488950" y="425450"/>
                  </a:lnTo>
                  <a:lnTo>
                    <a:pt x="596900" y="438150"/>
                  </a:lnTo>
                  <a:lnTo>
                    <a:pt x="679450" y="336550"/>
                  </a:lnTo>
                  <a:lnTo>
                    <a:pt x="717550" y="133350"/>
                  </a:lnTo>
                  <a:lnTo>
                    <a:pt x="812800" y="184150"/>
                  </a:lnTo>
                  <a:lnTo>
                    <a:pt x="952500" y="88900"/>
                  </a:lnTo>
                  <a:lnTo>
                    <a:pt x="979517" y="48377"/>
                  </a:lnTo>
                  <a:lnTo>
                    <a:pt x="977900" y="95250"/>
                  </a:lnTo>
                  <a:lnTo>
                    <a:pt x="1060450" y="0"/>
                  </a:lnTo>
                  <a:close/>
                </a:path>
              </a:pathLst>
            </a:custGeom>
            <a:solidFill>
              <a:schemeClr val="accent2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43" name="_Point" hidden="1">
              <a:extLst>
                <a:ext uri="{FF2B5EF4-FFF2-40B4-BE49-F238E27FC236}">
                  <a16:creationId xmlns:a16="http://schemas.microsoft.com/office/drawing/2014/main" id="{6F238C79-4A3B-4EC7-A1DC-5980F3055EC7}"/>
                </a:ext>
              </a:extLst>
            </p:cNvPr>
            <p:cNvSpPr/>
            <p:nvPr>
              <p:custDataLst>
                <p:tags r:id="rId21"/>
              </p:custDataLst>
            </p:nvPr>
          </p:nvSpPr>
          <p:spPr>
            <a:xfrm>
              <a:off x="7056888" y="3806165"/>
              <a:ext cx="79093" cy="73933"/>
            </a:xfrm>
            <a:prstGeom prst="ellipse">
              <a:avLst/>
            </a:prstGeom>
            <a:solidFill>
              <a:srgbClr val="B2B2B2"/>
            </a:solidFill>
            <a:ln w="6350" cap="flat" cmpd="sng" algn="ctr">
              <a:solidFill>
                <a:srgbClr val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200" b="1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itchFamily="34" charset="0"/>
              </a:endParaRPr>
            </a:p>
          </p:txBody>
        </p:sp>
        <p:sp>
          <p:nvSpPr>
            <p:cNvPr id="44" name="_Label" hidden="1">
              <a:extLst>
                <a:ext uri="{FF2B5EF4-FFF2-40B4-BE49-F238E27FC236}">
                  <a16:creationId xmlns:a16="http://schemas.microsoft.com/office/drawing/2014/main" id="{DE29AF14-FB2F-46F4-AF47-37C325FAE885}"/>
                </a:ext>
              </a:extLst>
            </p:cNvPr>
            <p:cNvSpPr txBox="1">
              <a:spLocks/>
            </p:cNvSpPr>
            <p:nvPr>
              <p:custDataLst>
                <p:tags r:id="rId22"/>
              </p:custDataLst>
            </p:nvPr>
          </p:nvSpPr>
          <p:spPr>
            <a:xfrm>
              <a:off x="7170648" y="3758807"/>
              <a:ext cx="356025" cy="173822"/>
            </a:xfrm>
            <a:prstGeom prst="rect">
              <a:avLst/>
            </a:prstGeom>
            <a:solidFill>
              <a:srgbClr val="B2B2B2"/>
            </a:solidFill>
            <a:ln w="6350">
              <a:noFill/>
            </a:ln>
            <a:extLst>
              <a:ext uri="{91240B29-F687-4F45-9708-019B960494DF}">
                <a14:hiddenLine xmlns:a14="http://schemas.microsoft.com/office/drawing/2010/main" w="6350">
                  <a:solidFill>
                    <a:schemeClr val="tx1"/>
                  </a:solidFill>
                </a14:hiddenLine>
              </a:ext>
            </a:extLst>
          </p:spPr>
          <p:txBody>
            <a:bodyPr vert="horz" wrap="none" lIns="72000" tIns="0" rIns="72000" bIns="0" rtlCol="0" anchor="ctr">
              <a:spAutoFit/>
            </a:bodyPr>
            <a:lstStyle>
              <a:defPPr>
                <a:defRPr lang="de-DE"/>
              </a:defPPr>
              <a:lvl1pPr indent="0">
                <a:spcBef>
                  <a:spcPct val="20000"/>
                </a:spcBef>
                <a:buClr>
                  <a:srgbClr val="2382BA"/>
                </a:buClr>
                <a:buSzPct val="70000"/>
                <a:buFont typeface="Wingdings" pitchFamily="2" charset="2"/>
                <a:buNone/>
                <a:defRPr sz="1200" b="1">
                  <a:solidFill>
                    <a:srgbClr val="4D4D4D"/>
                  </a:solidFill>
                  <a:latin typeface="Arial" panose="020B0604020202020204" pitchFamily="34" charset="0"/>
                  <a:ea typeface="Arial" panose="020B0706030804020204" pitchFamily="34" charset="0"/>
                  <a:cs typeface="Arial" panose="020B0604020202020204" pitchFamily="34" charset="0"/>
                </a:defRPr>
              </a:lvl1pPr>
              <a:lvl2pPr marL="361950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2pPr>
              <a:lvl3pPr marL="542925" indent="-180975">
                <a:spcBef>
                  <a:spcPct val="20000"/>
                </a:spcBef>
                <a:buClr>
                  <a:schemeClr val="tx1"/>
                </a:buClr>
                <a:buSzPct val="100000"/>
                <a:buFont typeface="Arial" pitchFamily="34" charset="0"/>
                <a:buChar char="-"/>
                <a:defRPr sz="1400"/>
              </a:lvl3pPr>
              <a:lvl4pPr marL="714375" indent="-171450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4pPr>
              <a:lvl5pPr marL="895350" indent="-180975">
                <a:spcBef>
                  <a:spcPct val="20000"/>
                </a:spcBef>
                <a:buClr>
                  <a:schemeClr val="tx1"/>
                </a:buClr>
                <a:buFont typeface="Arial" pitchFamily="34" charset="0"/>
                <a:buChar char="-"/>
                <a:defRPr sz="1400"/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/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2382BA"/>
                </a:buClr>
                <a:buSzPct val="70000"/>
                <a:buFont typeface="Wingdings" pitchFamily="2" charset="2"/>
                <a:buNone/>
                <a:tabLst/>
                <a:defRPr/>
              </a:pPr>
              <a:r>
                <a:rPr kumimoji="0" lang="de-DE" sz="11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 pitchFamily="34" charset="0"/>
                  <a:cs typeface="Arial" panose="020B0604020202020204" pitchFamily="34" charset="0"/>
                </a:rPr>
                <a:t>xxx</a:t>
              </a:r>
            </a:p>
          </p:txBody>
        </p:sp>
      </p:grpSp>
      <p:grpSp>
        <p:nvGrpSpPr>
          <p:cNvPr id="4" name="Gruppieren 3"/>
          <p:cNvGrpSpPr/>
          <p:nvPr/>
        </p:nvGrpSpPr>
        <p:grpSpPr>
          <a:xfrm>
            <a:off x="771752" y="4571527"/>
            <a:ext cx="3480381" cy="1722452"/>
            <a:chOff x="1201843" y="4720552"/>
            <a:chExt cx="3480381" cy="1722452"/>
          </a:xfrm>
        </p:grpSpPr>
        <p:sp>
          <p:nvSpPr>
            <p:cNvPr id="53" name="Textfeld 52"/>
            <p:cNvSpPr txBox="1"/>
            <p:nvPr/>
          </p:nvSpPr>
          <p:spPr>
            <a:xfrm>
              <a:off x="1650843" y="4783808"/>
              <a:ext cx="3031381" cy="162369"/>
            </a:xfrm>
            <a:prstGeom prst="rect">
              <a:avLst/>
            </a:prstGeom>
            <a:ln w="6350">
              <a:noFill/>
              <a:miter lim="800000"/>
            </a:ln>
          </p:spPr>
          <p:txBody>
            <a:bodyPr vert="horz" wrap="square" lIns="0" tIns="0" rIns="0" bIns="0" rtlCol="0" anchor="ctr">
              <a:noAutofit/>
            </a:bodyPr>
            <a:lstStyle/>
            <a:p>
              <a:pPr marL="0" marR="0" lvl="1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44894"/>
                  </a:solidFill>
                  <a:effectLst/>
                  <a:uLnTx/>
                  <a:uFillTx/>
                </a:rPr>
                <a:t>Status: im Austausch</a:t>
              </a:r>
            </a:p>
          </p:txBody>
        </p:sp>
        <p:sp>
          <p:nvSpPr>
            <p:cNvPr id="54" name="Rechteck 53"/>
            <p:cNvSpPr/>
            <p:nvPr/>
          </p:nvSpPr>
          <p:spPr>
            <a:xfrm>
              <a:off x="1201843" y="5090837"/>
              <a:ext cx="254756" cy="248400"/>
            </a:xfrm>
            <a:prstGeom prst="rect">
              <a:avLst/>
            </a:prstGeom>
            <a:solidFill>
              <a:srgbClr val="3333CC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hteck 54"/>
            <p:cNvSpPr/>
            <p:nvPr/>
          </p:nvSpPr>
          <p:spPr>
            <a:xfrm>
              <a:off x="1201843" y="4720552"/>
              <a:ext cx="254755" cy="247886"/>
            </a:xfrm>
            <a:prstGeom prst="rect">
              <a:avLst/>
            </a:prstGeom>
            <a:solidFill>
              <a:srgbClr val="EDBA36"/>
            </a:solidFill>
            <a:ln w="6350" cap="flat" cmpd="sng" algn="ctr">
              <a:noFill/>
              <a:prstDash val="solid"/>
              <a:miter lim="800000"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6" name="Rechteck 55"/>
            <p:cNvSpPr/>
            <p:nvPr/>
          </p:nvSpPr>
          <p:spPr>
            <a:xfrm>
              <a:off x="1201843" y="5458241"/>
              <a:ext cx="253377" cy="262119"/>
            </a:xfrm>
            <a:prstGeom prst="rect">
              <a:avLst/>
            </a:prstGeom>
            <a:solidFill>
              <a:srgbClr val="96AFE5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Textbox">
              <a:extLst>
                <a:ext uri="{FF2B5EF4-FFF2-40B4-BE49-F238E27FC236}">
                  <a16:creationId xmlns:a16="http://schemas.microsoft.com/office/drawing/2014/main" id="{77AD3BDE-7154-414F-A1F0-AA1942261D43}"/>
                </a:ext>
              </a:extLst>
            </p:cNvPr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1650843" y="5762794"/>
              <a:ext cx="1893273" cy="367947"/>
            </a:xfrm>
            <a:prstGeom prst="rect">
              <a:avLst/>
            </a:prstGeom>
          </p:spPr>
          <p:txBody>
            <a:bodyPr vert="horz" lIns="0" tIns="0" rIns="0" bIns="0" rtlCol="0" anchor="ctr">
              <a:noAutofit/>
            </a:bodyPr>
            <a:lstStyle>
              <a:lvl1pPr marL="0" indent="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Tx/>
                <a:buNone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27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54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81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08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350000" indent="-270000" algn="l" defTabSz="914400" rtl="0" eaLnBrk="1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Font typeface="Symbol" panose="05050102010706020507" pitchFamily="18" charset="2"/>
                <a:buChar char="-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1" indent="0" algn="l" defTabSz="914400" rtl="0" eaLnBrk="1" fontAlgn="base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Symbol" panose="05050102010706020507" pitchFamily="18" charset="2"/>
                <a:buNone/>
                <a:tabLst/>
                <a:defRPr/>
              </a:pPr>
              <a:r>
                <a:rPr lang="de-DE" sz="1100" kern="0" dirty="0">
                  <a:solidFill>
                    <a:srgbClr val="244894"/>
                  </a:solidFill>
                  <a:latin typeface="Arial" panose="020B0604020202020204" pitchFamily="34" charset="0"/>
                </a:rPr>
                <a:t>Status</a:t>
              </a:r>
              <a:r>
                <a:rPr kumimoji="0" lang="de-DE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244894"/>
                  </a:solidFill>
                  <a:effectLst/>
                  <a:uLnTx/>
                  <a:uFillTx/>
                  <a:ea typeface="+mn-ea"/>
                  <a:cs typeface="+mn-cs"/>
                </a:rPr>
                <a:t>: </a:t>
              </a:r>
              <a:r>
                <a:rPr kumimoji="0" lang="de-DE" sz="11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44894"/>
                  </a:solidFill>
                  <a:effectLst/>
                  <a:uLnTx/>
                  <a:uFillTx/>
                  <a:ea typeface="+mn-ea"/>
                  <a:cs typeface="+mn-cs"/>
                </a:rPr>
                <a:t>Absage</a:t>
              </a:r>
              <a:endParaRPr kumimoji="0" lang="de-DE" sz="1100" b="1" i="0" u="none" strike="noStrike" kern="1200" cap="none" spc="0" normalizeH="0" baseline="0" noProof="0" dirty="0">
                <a:ln>
                  <a:noFill/>
                </a:ln>
                <a:solidFill>
                  <a:srgbClr val="244894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58" name="Rechteck 57"/>
            <p:cNvSpPr/>
            <p:nvPr/>
          </p:nvSpPr>
          <p:spPr>
            <a:xfrm>
              <a:off x="1201843" y="5828850"/>
              <a:ext cx="252000" cy="262800"/>
            </a:xfrm>
            <a:prstGeom prst="rect">
              <a:avLst/>
            </a:prstGeom>
            <a:solidFill>
              <a:srgbClr val="D3242E"/>
            </a:solidFill>
            <a:ln w="6350" cap="flat" cmpd="sng" algn="ctr">
              <a:solidFill>
                <a:srgbClr val="707070"/>
              </a:solidFill>
              <a:prstDash val="solid"/>
              <a:miter lim="800000"/>
            </a:ln>
            <a:effectLst/>
            <a:ex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hteck 58"/>
            <p:cNvSpPr/>
            <p:nvPr/>
          </p:nvSpPr>
          <p:spPr>
            <a:xfrm>
              <a:off x="1569684" y="5090193"/>
              <a:ext cx="3033203" cy="26161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1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44894"/>
                  </a:solidFill>
                  <a:effectLst/>
                  <a:uLnTx/>
                  <a:uFillTx/>
                </a:rPr>
                <a:t>Status: Interessensbekundung abgegeben</a:t>
              </a:r>
            </a:p>
          </p:txBody>
        </p:sp>
        <p:sp>
          <p:nvSpPr>
            <p:cNvPr id="60" name="Rechteck 59"/>
            <p:cNvSpPr/>
            <p:nvPr/>
          </p:nvSpPr>
          <p:spPr>
            <a:xfrm>
              <a:off x="1569684" y="5456538"/>
              <a:ext cx="1314784" cy="26161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1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44894"/>
                  </a:solidFill>
                  <a:effectLst/>
                  <a:uLnTx/>
                  <a:uFillTx/>
                </a:rPr>
                <a:t>Umsetzungsland</a:t>
              </a:r>
            </a:p>
          </p:txBody>
        </p:sp>
        <p:sp>
          <p:nvSpPr>
            <p:cNvPr id="61" name="Rechteck 60"/>
            <p:cNvSpPr/>
            <p:nvPr/>
          </p:nvSpPr>
          <p:spPr>
            <a:xfrm>
              <a:off x="1201843" y="6180885"/>
              <a:ext cx="253377" cy="262119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Rechteck 61"/>
            <p:cNvSpPr/>
            <p:nvPr/>
          </p:nvSpPr>
          <p:spPr>
            <a:xfrm>
              <a:off x="1569684" y="6170313"/>
              <a:ext cx="2454518" cy="261610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marL="0" marR="0" lvl="1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1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244894"/>
                  </a:solidFill>
                  <a:effectLst/>
                  <a:uLnTx/>
                  <a:uFillTx/>
                </a:rPr>
                <a:t>Abstimmungsschreiben finalisier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33879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6" name="think-cell Folie" r:id="rId28" imgW="416" imgH="416" progId="TCLayout.ActiveDocument.1">
                  <p:embed/>
                </p:oleObj>
              </mc:Choice>
              <mc:Fallback>
                <p:oleObj name="think-cell Folie" r:id="rId28" imgW="416" imgH="416" progId="TCLayout.ActiveDocument.1">
                  <p:embed/>
                  <p:pic>
                    <p:nvPicPr>
                      <p:cNvPr id="17" name="Objekt 1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hteck 17" hidden="1"/>
          <p:cNvSpPr/>
          <p:nvPr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1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11" name="Titel 10"/>
          <p:cNvSpPr>
            <a:spLocks noGrp="1"/>
          </p:cNvSpPr>
          <p:nvPr>
            <p:ph type="title"/>
          </p:nvPr>
        </p:nvSpPr>
        <p:spPr>
          <a:xfrm>
            <a:off x="693211" y="482543"/>
            <a:ext cx="10801201" cy="725959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20" name="Textplatzhalter 19">
            <a:extLst>
              <a:ext uri="{FF2B5EF4-FFF2-40B4-BE49-F238E27FC236}">
                <a16:creationId xmlns:a16="http://schemas.microsoft.com/office/drawing/2014/main" id="{8467F16C-4608-4928-BFCF-B8E847B0BB0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3211" y="191947"/>
            <a:ext cx="65" cy="123111"/>
          </a:xfrm>
        </p:spPr>
        <p:txBody>
          <a:bodyPr/>
          <a:lstStyle/>
          <a:p>
            <a:endParaRPr lang="de-DE"/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7B65CA8D-591C-41E0-B75F-358B6318A5C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3211" y="6577364"/>
            <a:ext cx="5044808" cy="123111"/>
          </a:xfrm>
        </p:spPr>
        <p:txBody>
          <a:bodyPr/>
          <a:lstStyle/>
          <a:p>
            <a:endParaRPr lang="de-DE"/>
          </a:p>
        </p:txBody>
      </p:sp>
      <p:graphicFrame>
        <p:nvGraphicFramePr>
          <p:cNvPr id="68" name="Chart 3"/>
          <p:cNvGraphicFramePr/>
          <p:nvPr>
            <p:custDataLst>
              <p:tags r:id="rId5"/>
            </p:custDataLst>
            <p:extLst/>
          </p:nvPr>
        </p:nvGraphicFramePr>
        <p:xfrm>
          <a:off x="7440409" y="1344379"/>
          <a:ext cx="1388412" cy="1399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graphicFrame>
        <p:nvGraphicFramePr>
          <p:cNvPr id="69" name="Chart 3"/>
          <p:cNvGraphicFramePr/>
          <p:nvPr>
            <p:custDataLst>
              <p:tags r:id="rId6"/>
            </p:custDataLst>
            <p:extLst/>
          </p:nvPr>
        </p:nvGraphicFramePr>
        <p:xfrm>
          <a:off x="354332" y="3470435"/>
          <a:ext cx="1388412" cy="1399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7656632" y="2740768"/>
            <a:ext cx="108698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/>
              <a:t>Hessen</a:t>
            </a:r>
            <a:endParaRPr lang="de-DE" sz="1400" dirty="0"/>
          </a:p>
        </p:txBody>
      </p:sp>
      <p:sp>
        <p:nvSpPr>
          <p:cNvPr id="27" name="Textfeld 26"/>
          <p:cNvSpPr txBox="1"/>
          <p:nvPr/>
        </p:nvSpPr>
        <p:spPr>
          <a:xfrm>
            <a:off x="304623" y="4840651"/>
            <a:ext cx="137890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Niedersachsen</a:t>
            </a:r>
            <a:endParaRPr lang="de-DE" sz="1400" dirty="0"/>
          </a:p>
        </p:txBody>
      </p:sp>
      <p:grpSp>
        <p:nvGrpSpPr>
          <p:cNvPr id="13" name="Gruppieren 12"/>
          <p:cNvGrpSpPr/>
          <p:nvPr/>
        </p:nvGrpSpPr>
        <p:grpSpPr>
          <a:xfrm>
            <a:off x="6077924" y="3439910"/>
            <a:ext cx="1388412" cy="1709816"/>
            <a:chOff x="4587553" y="1338731"/>
            <a:chExt cx="1388412" cy="1709816"/>
          </a:xfrm>
        </p:grpSpPr>
        <p:sp>
          <p:nvSpPr>
            <p:cNvPr id="29" name="Textfeld 28"/>
            <p:cNvSpPr txBox="1"/>
            <p:nvPr/>
          </p:nvSpPr>
          <p:spPr>
            <a:xfrm>
              <a:off x="4829264" y="2740770"/>
              <a:ext cx="881973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smtClean="0"/>
                <a:t>Sachsen</a:t>
              </a:r>
              <a:endParaRPr lang="de-DE" sz="1400" dirty="0"/>
            </a:p>
          </p:txBody>
        </p:sp>
        <p:graphicFrame>
          <p:nvGraphicFramePr>
            <p:cNvPr id="35" name="Chart 3"/>
            <p:cNvGraphicFramePr/>
            <p:nvPr>
              <p:custDataLst>
                <p:tags r:id="rId25"/>
              </p:custDataLst>
              <p:extLst/>
            </p:nvPr>
          </p:nvGraphicFramePr>
          <p:xfrm>
            <a:off x="4587553" y="1338731"/>
            <a:ext cx="1388412" cy="13996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2"/>
            </a:graphicData>
          </a:graphic>
        </p:graphicFrame>
        <p:sp>
          <p:nvSpPr>
            <p:cNvPr id="9" name="Textfeld 8"/>
            <p:cNvSpPr txBox="1"/>
            <p:nvPr/>
          </p:nvSpPr>
          <p:spPr>
            <a:xfrm>
              <a:off x="5018236" y="1846229"/>
              <a:ext cx="313150" cy="2791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13</a:t>
              </a:r>
              <a:endParaRPr lang="de-DE" dirty="0"/>
            </a:p>
          </p:txBody>
        </p:sp>
      </p:grpSp>
      <p:sp>
        <p:nvSpPr>
          <p:cNvPr id="37" name="Textfeld 36"/>
          <p:cNvSpPr txBox="1"/>
          <p:nvPr/>
        </p:nvSpPr>
        <p:spPr>
          <a:xfrm>
            <a:off x="808438" y="3987018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52</a:t>
            </a:r>
            <a:endParaRPr lang="de-DE" dirty="0"/>
          </a:p>
        </p:txBody>
      </p:sp>
      <p:grpSp>
        <p:nvGrpSpPr>
          <p:cNvPr id="6" name="Gruppieren 5"/>
          <p:cNvGrpSpPr/>
          <p:nvPr/>
        </p:nvGrpSpPr>
        <p:grpSpPr>
          <a:xfrm>
            <a:off x="4721156" y="1329873"/>
            <a:ext cx="1388412" cy="1709817"/>
            <a:chOff x="3276105" y="1338731"/>
            <a:chExt cx="1388412" cy="1709817"/>
          </a:xfrm>
        </p:grpSpPr>
        <p:graphicFrame>
          <p:nvGraphicFramePr>
            <p:cNvPr id="70" name="Chart 3"/>
            <p:cNvGraphicFramePr/>
            <p:nvPr>
              <p:custDataLst>
                <p:tags r:id="rId24"/>
              </p:custDataLst>
              <p:extLst/>
            </p:nvPr>
          </p:nvGraphicFramePr>
          <p:xfrm>
            <a:off x="3276105" y="1338731"/>
            <a:ext cx="1388412" cy="13996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3"/>
            </a:graphicData>
          </a:graphic>
        </p:graphicFrame>
        <p:sp>
          <p:nvSpPr>
            <p:cNvPr id="28" name="Textfeld 27"/>
            <p:cNvSpPr txBox="1"/>
            <p:nvPr/>
          </p:nvSpPr>
          <p:spPr>
            <a:xfrm>
              <a:off x="3559280" y="2740771"/>
              <a:ext cx="811441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smtClean="0"/>
                <a:t>Bremen</a:t>
              </a:r>
              <a:endParaRPr lang="de-DE" sz="1400" dirty="0"/>
            </a:p>
          </p:txBody>
        </p:sp>
        <p:sp>
          <p:nvSpPr>
            <p:cNvPr id="38" name="Textfeld 37"/>
            <p:cNvSpPr txBox="1"/>
            <p:nvPr/>
          </p:nvSpPr>
          <p:spPr>
            <a:xfrm>
              <a:off x="3765007" y="1856259"/>
              <a:ext cx="222118" cy="27915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/>
                <a:t>2</a:t>
              </a:r>
            </a:p>
          </p:txBody>
        </p:sp>
      </p:grpSp>
      <p:graphicFrame>
        <p:nvGraphicFramePr>
          <p:cNvPr id="63" name="Chart 3"/>
          <p:cNvGraphicFramePr/>
          <p:nvPr>
            <p:custDataLst>
              <p:tags r:id="rId7"/>
            </p:custDataLst>
            <p:extLst/>
          </p:nvPr>
        </p:nvGraphicFramePr>
        <p:xfrm>
          <a:off x="667862" y="1332796"/>
          <a:ext cx="1388412" cy="1399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4"/>
          </a:graphicData>
        </a:graphic>
      </p:graphicFrame>
      <p:graphicFrame>
        <p:nvGraphicFramePr>
          <p:cNvPr id="64" name="Chart 3"/>
          <p:cNvGraphicFramePr/>
          <p:nvPr>
            <p:custDataLst>
              <p:tags r:id="rId8"/>
            </p:custDataLst>
            <p:extLst/>
          </p:nvPr>
        </p:nvGraphicFramePr>
        <p:xfrm>
          <a:off x="7525758" y="3470435"/>
          <a:ext cx="1388412" cy="1399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5"/>
          </a:graphicData>
        </a:graphic>
      </p:graphicFrame>
      <p:sp>
        <p:nvSpPr>
          <p:cNvPr id="30" name="Textfeld 29"/>
          <p:cNvSpPr txBox="1"/>
          <p:nvPr/>
        </p:nvSpPr>
        <p:spPr>
          <a:xfrm>
            <a:off x="892517" y="2740768"/>
            <a:ext cx="121860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Baden-</a:t>
            </a:r>
          </a:p>
          <a:p>
            <a:r>
              <a:rPr lang="de-DE" sz="1400" dirty="0" smtClean="0"/>
              <a:t>Württemberg</a:t>
            </a:r>
            <a:endParaRPr lang="de-DE" sz="1400" dirty="0"/>
          </a:p>
        </p:txBody>
      </p:sp>
      <p:sp>
        <p:nvSpPr>
          <p:cNvPr id="31" name="Textfeld 30"/>
          <p:cNvSpPr txBox="1"/>
          <p:nvPr/>
        </p:nvSpPr>
        <p:spPr>
          <a:xfrm>
            <a:off x="7774011" y="4847104"/>
            <a:ext cx="941283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Sachsen-</a:t>
            </a:r>
          </a:p>
          <a:p>
            <a:r>
              <a:rPr lang="de-DE" sz="1400" dirty="0" smtClean="0"/>
              <a:t>Anhalt </a:t>
            </a:r>
            <a:endParaRPr lang="de-DE" sz="1400" dirty="0"/>
          </a:p>
        </p:txBody>
      </p:sp>
      <p:sp>
        <p:nvSpPr>
          <p:cNvPr id="42" name="Textfeld 41"/>
          <p:cNvSpPr txBox="1"/>
          <p:nvPr/>
        </p:nvSpPr>
        <p:spPr>
          <a:xfrm>
            <a:off x="7943230" y="3985546"/>
            <a:ext cx="313150" cy="2791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14</a:t>
            </a:r>
            <a:endParaRPr lang="de-DE" dirty="0"/>
          </a:p>
        </p:txBody>
      </p:sp>
      <p:sp>
        <p:nvSpPr>
          <p:cNvPr id="39" name="Textfeld 38"/>
          <p:cNvSpPr txBox="1"/>
          <p:nvPr/>
        </p:nvSpPr>
        <p:spPr>
          <a:xfrm>
            <a:off x="1048538" y="1846228"/>
            <a:ext cx="52610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135</a:t>
            </a:r>
            <a:endParaRPr lang="de-DE" dirty="0"/>
          </a:p>
        </p:txBody>
      </p:sp>
      <p:sp>
        <p:nvSpPr>
          <p:cNvPr id="45" name="Textfeld 44"/>
          <p:cNvSpPr txBox="1"/>
          <p:nvPr/>
        </p:nvSpPr>
        <p:spPr>
          <a:xfrm>
            <a:off x="7900272" y="1885881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31</a:t>
            </a:r>
            <a:endParaRPr lang="de-DE" dirty="0"/>
          </a:p>
        </p:txBody>
      </p:sp>
      <p:sp>
        <p:nvSpPr>
          <p:cNvPr id="46" name="easyDyn_HBA_5">
            <a:extLst>
              <a:ext uri="{FF2B5EF4-FFF2-40B4-BE49-F238E27FC236}">
                <a16:creationId xmlns:a16="http://schemas.microsoft.com/office/drawing/2014/main" id="{9CAE5FB9-C860-40C6-BF60-9916BAA7AA70}"/>
              </a:ext>
            </a:extLst>
          </p:cNvPr>
          <p:cNvSpPr>
            <a:spLocks noChangeAspect="1"/>
          </p:cNvSpPr>
          <p:nvPr>
            <p:custDataLst>
              <p:tags r:id="rId9"/>
            </p:custDataLst>
          </p:nvPr>
        </p:nvSpPr>
        <p:spPr>
          <a:xfrm>
            <a:off x="3910534" y="6217364"/>
            <a:ext cx="360000" cy="360000"/>
          </a:xfrm>
          <a:prstGeom prst="ellipse">
            <a:avLst/>
          </a:prstGeom>
          <a:solidFill>
            <a:schemeClr val="accent1"/>
          </a:solidFill>
          <a:ln w="63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400" dirty="0" err="1">
              <a:solidFill>
                <a:srgbClr val="30303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7" name="Textbox">
            <a:extLst>
              <a:ext uri="{FF2B5EF4-FFF2-40B4-BE49-F238E27FC236}">
                <a16:creationId xmlns:a16="http://schemas.microsoft.com/office/drawing/2014/main" id="{77AD3BDE-7154-414F-A1F0-AA1942261D43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4352246" y="6264746"/>
            <a:ext cx="1358991" cy="2575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de-DE" dirty="0" smtClean="0"/>
              <a:t>In Bearbeitung </a:t>
            </a:r>
            <a:endParaRPr lang="de-DE" dirty="0"/>
          </a:p>
        </p:txBody>
      </p:sp>
      <p:sp>
        <p:nvSpPr>
          <p:cNvPr id="48" name="easyDyn_HBA_5">
            <a:extLst>
              <a:ext uri="{FF2B5EF4-FFF2-40B4-BE49-F238E27FC236}">
                <a16:creationId xmlns:a16="http://schemas.microsoft.com/office/drawing/2014/main" id="{9CAE5FB9-C860-40C6-BF60-9916BAA7AA70}"/>
              </a:ext>
            </a:extLst>
          </p:cNvPr>
          <p:cNvSpPr>
            <a:spLocks noChangeAspect="1"/>
          </p:cNvSpPr>
          <p:nvPr>
            <p:custDataLst>
              <p:tags r:id="rId11"/>
            </p:custDataLst>
          </p:nvPr>
        </p:nvSpPr>
        <p:spPr>
          <a:xfrm>
            <a:off x="5642355" y="6199520"/>
            <a:ext cx="360000" cy="360000"/>
          </a:xfrm>
          <a:prstGeom prst="ellipse">
            <a:avLst/>
          </a:prstGeom>
          <a:solidFill>
            <a:srgbClr val="00B050"/>
          </a:solidFill>
          <a:ln w="6350" cap="flat" cmpd="sng" algn="ctr">
            <a:solidFill>
              <a:srgbClr val="00B05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400" dirty="0" err="1">
              <a:solidFill>
                <a:srgbClr val="30303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49" name="Textbox">
            <a:extLst>
              <a:ext uri="{FF2B5EF4-FFF2-40B4-BE49-F238E27FC236}">
                <a16:creationId xmlns:a16="http://schemas.microsoft.com/office/drawing/2014/main" id="{77AD3BDE-7154-414F-A1F0-AA1942261D43}"/>
              </a:ext>
            </a:extLst>
          </p:cNvPr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6084067" y="6246902"/>
            <a:ext cx="1358991" cy="2575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de-DE" dirty="0" smtClean="0"/>
              <a:t>Produktivlink versendet</a:t>
            </a:r>
            <a:endParaRPr lang="de-DE" dirty="0"/>
          </a:p>
        </p:txBody>
      </p:sp>
      <p:sp>
        <p:nvSpPr>
          <p:cNvPr id="51" name="Textbox">
            <a:extLst>
              <a:ext uri="{FF2B5EF4-FFF2-40B4-BE49-F238E27FC236}">
                <a16:creationId xmlns:a16="http://schemas.microsoft.com/office/drawing/2014/main" id="{77AD3BDE-7154-414F-A1F0-AA1942261D43}"/>
              </a:ext>
            </a:extLst>
          </p:cNvPr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8031582" y="6264746"/>
            <a:ext cx="1358991" cy="2575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de-DE" dirty="0" smtClean="0"/>
              <a:t>Noch keine Nachnutzung</a:t>
            </a:r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9472285" y="6177255"/>
            <a:ext cx="21547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400" dirty="0" smtClean="0">
                <a:solidFill>
                  <a:srgbClr val="FF0000"/>
                </a:solidFill>
              </a:rPr>
              <a:t>Geringfügige Abweichungen möglich!</a:t>
            </a:r>
            <a:endParaRPr lang="de-DE" sz="1400" dirty="0">
              <a:solidFill>
                <a:srgbClr val="FF0000"/>
              </a:solidFill>
            </a:endParaRPr>
          </a:p>
        </p:txBody>
      </p:sp>
      <p:grpSp>
        <p:nvGrpSpPr>
          <p:cNvPr id="19" name="Gruppieren 18"/>
          <p:cNvGrpSpPr/>
          <p:nvPr/>
        </p:nvGrpSpPr>
        <p:grpSpPr>
          <a:xfrm>
            <a:off x="1771567" y="3420774"/>
            <a:ext cx="1388412" cy="1925257"/>
            <a:chOff x="9720830" y="1367817"/>
            <a:chExt cx="1388412" cy="1925257"/>
          </a:xfrm>
        </p:grpSpPr>
        <p:graphicFrame>
          <p:nvGraphicFramePr>
            <p:cNvPr id="54" name="Chart 3"/>
            <p:cNvGraphicFramePr/>
            <p:nvPr>
              <p:custDataLst>
                <p:tags r:id="rId23"/>
              </p:custDataLst>
              <p:extLst/>
            </p:nvPr>
          </p:nvGraphicFramePr>
          <p:xfrm>
            <a:off x="9720830" y="1367817"/>
            <a:ext cx="1388412" cy="13996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6"/>
            </a:graphicData>
          </a:graphic>
        </p:graphicFrame>
        <p:sp>
          <p:nvSpPr>
            <p:cNvPr id="56" name="Textfeld 55"/>
            <p:cNvSpPr txBox="1"/>
            <p:nvPr/>
          </p:nvSpPr>
          <p:spPr>
            <a:xfrm>
              <a:off x="9931481" y="2769854"/>
              <a:ext cx="1029449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smtClean="0"/>
                <a:t>Nordrhein-</a:t>
              </a:r>
            </a:p>
            <a:p>
              <a:r>
                <a:rPr lang="de-DE" sz="1400" dirty="0" smtClean="0"/>
                <a:t>Westfalen </a:t>
              </a:r>
              <a:endParaRPr lang="de-DE" sz="1400" dirty="0"/>
            </a:p>
          </p:txBody>
        </p:sp>
        <p:sp>
          <p:nvSpPr>
            <p:cNvPr id="57" name="Textfeld 56"/>
            <p:cNvSpPr txBox="1"/>
            <p:nvPr/>
          </p:nvSpPr>
          <p:spPr>
            <a:xfrm>
              <a:off x="10169809" y="1886029"/>
              <a:ext cx="412292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81</a:t>
              </a:r>
              <a:endParaRPr lang="de-DE" dirty="0"/>
            </a:p>
          </p:txBody>
        </p:sp>
      </p:grpSp>
      <p:grpSp>
        <p:nvGrpSpPr>
          <p:cNvPr id="3" name="Gruppieren 2"/>
          <p:cNvGrpSpPr/>
          <p:nvPr/>
        </p:nvGrpSpPr>
        <p:grpSpPr>
          <a:xfrm>
            <a:off x="1978494" y="1347717"/>
            <a:ext cx="1388412" cy="1709814"/>
            <a:chOff x="8429381" y="1367817"/>
            <a:chExt cx="1388412" cy="1709814"/>
          </a:xfrm>
        </p:grpSpPr>
        <p:graphicFrame>
          <p:nvGraphicFramePr>
            <p:cNvPr id="53" name="Chart 3"/>
            <p:cNvGraphicFramePr/>
            <p:nvPr>
              <p:custDataLst>
                <p:tags r:id="rId22"/>
              </p:custDataLst>
              <p:extLst/>
            </p:nvPr>
          </p:nvGraphicFramePr>
          <p:xfrm>
            <a:off x="8429381" y="1367817"/>
            <a:ext cx="1388412" cy="13996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7"/>
            </a:graphicData>
          </a:graphic>
        </p:graphicFrame>
        <p:sp>
          <p:nvSpPr>
            <p:cNvPr id="55" name="Textfeld 54"/>
            <p:cNvSpPr txBox="1"/>
            <p:nvPr/>
          </p:nvSpPr>
          <p:spPr>
            <a:xfrm>
              <a:off x="8573218" y="2769854"/>
              <a:ext cx="752129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sz="1400" dirty="0" smtClean="0"/>
                <a:t>Bayern</a:t>
              </a:r>
              <a:endParaRPr lang="de-DE" sz="1400" dirty="0"/>
            </a:p>
          </p:txBody>
        </p:sp>
        <p:sp>
          <p:nvSpPr>
            <p:cNvPr id="58" name="Textfeld 57"/>
            <p:cNvSpPr txBox="1"/>
            <p:nvPr/>
          </p:nvSpPr>
          <p:spPr>
            <a:xfrm>
              <a:off x="8841266" y="1852783"/>
              <a:ext cx="44114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de-DE" dirty="0" smtClean="0"/>
                <a:t>96</a:t>
              </a:r>
              <a:endParaRPr lang="de-DE" dirty="0"/>
            </a:p>
          </p:txBody>
        </p:sp>
      </p:grpSp>
      <p:graphicFrame>
        <p:nvGraphicFramePr>
          <p:cNvPr id="103" name="Chart 3"/>
          <p:cNvGraphicFramePr/>
          <p:nvPr>
            <p:custDataLst>
              <p:tags r:id="rId14"/>
            </p:custDataLst>
            <p:extLst/>
          </p:nvPr>
        </p:nvGraphicFramePr>
        <p:xfrm>
          <a:off x="8952196" y="3413597"/>
          <a:ext cx="1409297" cy="1590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8"/>
          </a:graphicData>
        </a:graphic>
      </p:graphicFrame>
      <p:sp>
        <p:nvSpPr>
          <p:cNvPr id="32" name="Textfeld 31"/>
          <p:cNvSpPr txBox="1"/>
          <p:nvPr/>
        </p:nvSpPr>
        <p:spPr>
          <a:xfrm>
            <a:off x="9111048" y="4847104"/>
            <a:ext cx="105189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Schleswig-</a:t>
            </a:r>
          </a:p>
          <a:p>
            <a:r>
              <a:rPr lang="de-DE" sz="1400" dirty="0" smtClean="0"/>
              <a:t>Holstein</a:t>
            </a:r>
            <a:endParaRPr lang="de-DE" sz="1400" dirty="0"/>
          </a:p>
        </p:txBody>
      </p:sp>
      <p:sp>
        <p:nvSpPr>
          <p:cNvPr id="33" name="Textfeld 32"/>
          <p:cNvSpPr txBox="1"/>
          <p:nvPr/>
        </p:nvSpPr>
        <p:spPr>
          <a:xfrm>
            <a:off x="9367889" y="4006529"/>
            <a:ext cx="317861" cy="3171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15</a:t>
            </a:r>
            <a:endParaRPr lang="de-DE" dirty="0"/>
          </a:p>
        </p:txBody>
      </p:sp>
      <p:graphicFrame>
        <p:nvGraphicFramePr>
          <p:cNvPr id="104" name="Chart 3"/>
          <p:cNvGraphicFramePr/>
          <p:nvPr>
            <p:custDataLst>
              <p:tags r:id="rId15"/>
            </p:custDataLst>
            <p:extLst/>
          </p:nvPr>
        </p:nvGraphicFramePr>
        <p:xfrm>
          <a:off x="3207071" y="3340102"/>
          <a:ext cx="1409297" cy="1590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9"/>
          </a:graphicData>
        </a:graphic>
      </p:graphicFrame>
      <p:sp>
        <p:nvSpPr>
          <p:cNvPr id="34" name="Textfeld 33"/>
          <p:cNvSpPr txBox="1"/>
          <p:nvPr/>
        </p:nvSpPr>
        <p:spPr>
          <a:xfrm>
            <a:off x="3166932" y="4847104"/>
            <a:ext cx="1449436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Rheinland-Pfalz</a:t>
            </a:r>
            <a:endParaRPr lang="de-DE" sz="1400" dirty="0"/>
          </a:p>
        </p:txBody>
      </p:sp>
      <p:sp>
        <p:nvSpPr>
          <p:cNvPr id="40" name="Textfeld 39"/>
          <p:cNvSpPr txBox="1"/>
          <p:nvPr/>
        </p:nvSpPr>
        <p:spPr>
          <a:xfrm>
            <a:off x="3649609" y="3923172"/>
            <a:ext cx="317861" cy="3171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36</a:t>
            </a:r>
            <a:endParaRPr lang="de-DE" dirty="0"/>
          </a:p>
        </p:txBody>
      </p:sp>
      <p:graphicFrame>
        <p:nvGraphicFramePr>
          <p:cNvPr id="101" name="Chart 3"/>
          <p:cNvGraphicFramePr/>
          <p:nvPr>
            <p:custDataLst>
              <p:tags r:id="rId16"/>
            </p:custDataLst>
            <p:extLst/>
          </p:nvPr>
        </p:nvGraphicFramePr>
        <p:xfrm>
          <a:off x="8711077" y="1169743"/>
          <a:ext cx="1409297" cy="1590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0"/>
          </a:graphicData>
        </a:graphic>
      </p:graphicFrame>
      <p:sp>
        <p:nvSpPr>
          <p:cNvPr id="36" name="Textfeld 35"/>
          <p:cNvSpPr txBox="1"/>
          <p:nvPr/>
        </p:nvSpPr>
        <p:spPr>
          <a:xfrm>
            <a:off x="8852078" y="2731531"/>
            <a:ext cx="1268296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400" dirty="0" smtClean="0"/>
              <a:t>Mecklenburg-</a:t>
            </a:r>
          </a:p>
          <a:p>
            <a:r>
              <a:rPr lang="de-DE" sz="1400" dirty="0" smtClean="0"/>
              <a:t>Vorpommern</a:t>
            </a:r>
            <a:endParaRPr lang="de-DE" sz="1400" dirty="0"/>
          </a:p>
        </p:txBody>
      </p:sp>
      <p:sp>
        <p:nvSpPr>
          <p:cNvPr id="43" name="Textfeld 42"/>
          <p:cNvSpPr txBox="1"/>
          <p:nvPr/>
        </p:nvSpPr>
        <p:spPr>
          <a:xfrm>
            <a:off x="9324229" y="1793942"/>
            <a:ext cx="225460" cy="3171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8</a:t>
            </a:r>
          </a:p>
        </p:txBody>
      </p:sp>
      <p:graphicFrame>
        <p:nvGraphicFramePr>
          <p:cNvPr id="91" name="Chart 3"/>
          <p:cNvGraphicFramePr/>
          <p:nvPr>
            <p:custDataLst>
              <p:tags r:id="rId17"/>
            </p:custDataLst>
            <p:extLst/>
          </p:nvPr>
        </p:nvGraphicFramePr>
        <p:xfrm>
          <a:off x="3341768" y="1196508"/>
          <a:ext cx="1409297" cy="1590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1"/>
          </a:graphicData>
        </a:graphic>
      </p:graphicFrame>
      <p:sp>
        <p:nvSpPr>
          <p:cNvPr id="8" name="Rechteck 7"/>
          <p:cNvSpPr/>
          <p:nvPr/>
        </p:nvSpPr>
        <p:spPr>
          <a:xfrm>
            <a:off x="3388872" y="2747405"/>
            <a:ext cx="121860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/>
              <a:t>Brandenburg</a:t>
            </a:r>
            <a:endParaRPr lang="de-DE" dirty="0"/>
          </a:p>
        </p:txBody>
      </p:sp>
      <p:sp>
        <p:nvSpPr>
          <p:cNvPr id="44" name="Textfeld 43"/>
          <p:cNvSpPr txBox="1"/>
          <p:nvPr/>
        </p:nvSpPr>
        <p:spPr>
          <a:xfrm>
            <a:off x="3799158" y="1848991"/>
            <a:ext cx="317861" cy="3171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18</a:t>
            </a:r>
            <a:endParaRPr lang="de-DE" dirty="0"/>
          </a:p>
        </p:txBody>
      </p:sp>
      <p:graphicFrame>
        <p:nvGraphicFramePr>
          <p:cNvPr id="105" name="Chart 3"/>
          <p:cNvGraphicFramePr/>
          <p:nvPr>
            <p:custDataLst>
              <p:tags r:id="rId18"/>
            </p:custDataLst>
            <p:extLst/>
          </p:nvPr>
        </p:nvGraphicFramePr>
        <p:xfrm>
          <a:off x="10390825" y="3470435"/>
          <a:ext cx="1409297" cy="1590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2"/>
          </a:graphicData>
        </a:graphic>
      </p:graphicFrame>
      <p:sp>
        <p:nvSpPr>
          <p:cNvPr id="7" name="Rechteck 6"/>
          <p:cNvSpPr/>
          <p:nvPr/>
        </p:nvSpPr>
        <p:spPr>
          <a:xfrm>
            <a:off x="10588887" y="4870123"/>
            <a:ext cx="989373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/>
              <a:t>Thüringen</a:t>
            </a:r>
            <a:endParaRPr lang="de-DE" dirty="0"/>
          </a:p>
        </p:txBody>
      </p:sp>
      <p:sp>
        <p:nvSpPr>
          <p:cNvPr id="41" name="Textfeld 40"/>
          <p:cNvSpPr txBox="1"/>
          <p:nvPr/>
        </p:nvSpPr>
        <p:spPr>
          <a:xfrm>
            <a:off x="10843766" y="4053505"/>
            <a:ext cx="41229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22</a:t>
            </a:r>
            <a:endParaRPr lang="de-DE" dirty="0"/>
          </a:p>
        </p:txBody>
      </p:sp>
      <p:graphicFrame>
        <p:nvGraphicFramePr>
          <p:cNvPr id="62" name="Chart 3"/>
          <p:cNvGraphicFramePr/>
          <p:nvPr>
            <p:custDataLst>
              <p:tags r:id="rId19"/>
            </p:custDataLst>
            <p:extLst/>
          </p:nvPr>
        </p:nvGraphicFramePr>
        <p:xfrm>
          <a:off x="4656947" y="3350545"/>
          <a:ext cx="1409297" cy="1590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3"/>
          </a:graphicData>
        </a:graphic>
      </p:graphicFrame>
      <p:sp>
        <p:nvSpPr>
          <p:cNvPr id="66" name="Rechteck 65"/>
          <p:cNvSpPr/>
          <p:nvPr/>
        </p:nvSpPr>
        <p:spPr>
          <a:xfrm>
            <a:off x="4876456" y="4840651"/>
            <a:ext cx="901209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/>
              <a:t>Saarland</a:t>
            </a:r>
            <a:endParaRPr lang="de-DE" sz="1400" dirty="0"/>
          </a:p>
        </p:txBody>
      </p:sp>
      <p:graphicFrame>
        <p:nvGraphicFramePr>
          <p:cNvPr id="60" name="Chart 3"/>
          <p:cNvGraphicFramePr/>
          <p:nvPr>
            <p:custDataLst>
              <p:tags r:id="rId20"/>
            </p:custDataLst>
            <p:extLst/>
          </p:nvPr>
        </p:nvGraphicFramePr>
        <p:xfrm>
          <a:off x="5949822" y="1164952"/>
          <a:ext cx="1409297" cy="15900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4"/>
          </a:graphicData>
        </a:graphic>
      </p:graphicFrame>
      <p:sp>
        <p:nvSpPr>
          <p:cNvPr id="67" name="Rechteck 66"/>
          <p:cNvSpPr/>
          <p:nvPr/>
        </p:nvSpPr>
        <p:spPr>
          <a:xfrm>
            <a:off x="6289401" y="2747405"/>
            <a:ext cx="920445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1400" dirty="0" smtClean="0"/>
              <a:t>Hamburg</a:t>
            </a:r>
            <a:endParaRPr lang="de-DE" dirty="0"/>
          </a:p>
        </p:txBody>
      </p:sp>
      <p:sp>
        <p:nvSpPr>
          <p:cNvPr id="72" name="Textfeld 71"/>
          <p:cNvSpPr txBox="1"/>
          <p:nvPr/>
        </p:nvSpPr>
        <p:spPr>
          <a:xfrm>
            <a:off x="6556257" y="1830839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1</a:t>
            </a:r>
            <a:endParaRPr lang="de-DE" dirty="0"/>
          </a:p>
        </p:txBody>
      </p:sp>
      <p:sp>
        <p:nvSpPr>
          <p:cNvPr id="73" name="Textfeld 72"/>
          <p:cNvSpPr txBox="1"/>
          <p:nvPr/>
        </p:nvSpPr>
        <p:spPr>
          <a:xfrm>
            <a:off x="5149682" y="3967698"/>
            <a:ext cx="312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dirty="0" smtClean="0"/>
              <a:t>6</a:t>
            </a:r>
            <a:endParaRPr lang="de-DE" dirty="0"/>
          </a:p>
        </p:txBody>
      </p:sp>
      <p:sp>
        <p:nvSpPr>
          <p:cNvPr id="74" name="easyDyn_HBA_5">
            <a:extLst>
              <a:ext uri="{FF2B5EF4-FFF2-40B4-BE49-F238E27FC236}">
                <a16:creationId xmlns:a16="http://schemas.microsoft.com/office/drawing/2014/main" id="{9CAE5FB9-C860-40C6-BF60-9916BAA7AA70}"/>
              </a:ext>
            </a:extLst>
          </p:cNvPr>
          <p:cNvSpPr>
            <a:spLocks noChangeAspect="1"/>
          </p:cNvSpPr>
          <p:nvPr>
            <p:custDataLst>
              <p:tags r:id="rId21"/>
            </p:custDataLst>
          </p:nvPr>
        </p:nvSpPr>
        <p:spPr>
          <a:xfrm>
            <a:off x="7630726" y="6212239"/>
            <a:ext cx="360000" cy="360000"/>
          </a:xfrm>
          <a:prstGeom prst="ellipse">
            <a:avLst/>
          </a:prstGeom>
          <a:solidFill>
            <a:srgbClr val="C00000"/>
          </a:solidFill>
          <a:ln w="635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400" dirty="0" err="1">
              <a:solidFill>
                <a:srgbClr val="30303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227368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" name="Objekt 13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6" name="think-cell Folie" r:id="rId5" imgW="426" imgH="428" progId="TCLayout.ActiveDocument.1">
                  <p:embed/>
                </p:oleObj>
              </mc:Choice>
              <mc:Fallback>
                <p:oleObj name="think-cell Folie" r:id="rId5" imgW="426" imgH="428" progId="TCLayout.ActiveDocument.1">
                  <p:embed/>
                  <p:pic>
                    <p:nvPicPr>
                      <p:cNvPr id="133" name="Objekt 13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bject 3"/>
          <p:cNvSpPr/>
          <p:nvPr/>
        </p:nvSpPr>
        <p:spPr>
          <a:xfrm>
            <a:off x="1397001" y="2241127"/>
            <a:ext cx="9573260" cy="149013"/>
          </a:xfrm>
          <a:custGeom>
            <a:avLst/>
            <a:gdLst/>
            <a:ahLst/>
            <a:cxnLst/>
            <a:rect l="l" t="t" r="r" b="b"/>
            <a:pathLst>
              <a:path w="7179945" h="111760">
                <a:moveTo>
                  <a:pt x="7140339" y="55752"/>
                </a:moveTo>
                <a:lnTo>
                  <a:pt x="7078726" y="91693"/>
                </a:lnTo>
                <a:lnTo>
                  <a:pt x="7073900" y="94360"/>
                </a:lnTo>
                <a:lnTo>
                  <a:pt x="7072376" y="100456"/>
                </a:lnTo>
                <a:lnTo>
                  <a:pt x="7075170" y="105155"/>
                </a:lnTo>
                <a:lnTo>
                  <a:pt x="7077836" y="109981"/>
                </a:lnTo>
                <a:lnTo>
                  <a:pt x="7083933" y="111505"/>
                </a:lnTo>
                <a:lnTo>
                  <a:pt x="7088632" y="108712"/>
                </a:lnTo>
                <a:lnTo>
                  <a:pt x="7162555" y="65658"/>
                </a:lnTo>
                <a:lnTo>
                  <a:pt x="7160259" y="65658"/>
                </a:lnTo>
                <a:lnTo>
                  <a:pt x="7160259" y="64262"/>
                </a:lnTo>
                <a:lnTo>
                  <a:pt x="7154926" y="64262"/>
                </a:lnTo>
                <a:lnTo>
                  <a:pt x="7140339" y="55752"/>
                </a:lnTo>
                <a:close/>
              </a:path>
              <a:path w="7179945" h="111760">
                <a:moveTo>
                  <a:pt x="7123357" y="45846"/>
                </a:moveTo>
                <a:lnTo>
                  <a:pt x="0" y="45846"/>
                </a:lnTo>
                <a:lnTo>
                  <a:pt x="0" y="65658"/>
                </a:lnTo>
                <a:lnTo>
                  <a:pt x="7123357" y="65658"/>
                </a:lnTo>
                <a:lnTo>
                  <a:pt x="7140339" y="55752"/>
                </a:lnTo>
                <a:lnTo>
                  <a:pt x="7123357" y="45846"/>
                </a:lnTo>
                <a:close/>
              </a:path>
              <a:path w="7179945" h="111760">
                <a:moveTo>
                  <a:pt x="7162555" y="45846"/>
                </a:moveTo>
                <a:lnTo>
                  <a:pt x="7160259" y="45846"/>
                </a:lnTo>
                <a:lnTo>
                  <a:pt x="7160259" y="65658"/>
                </a:lnTo>
                <a:lnTo>
                  <a:pt x="7162555" y="65658"/>
                </a:lnTo>
                <a:lnTo>
                  <a:pt x="7179564" y="55752"/>
                </a:lnTo>
                <a:lnTo>
                  <a:pt x="7162555" y="45846"/>
                </a:lnTo>
                <a:close/>
              </a:path>
              <a:path w="7179945" h="111760">
                <a:moveTo>
                  <a:pt x="7154926" y="47243"/>
                </a:moveTo>
                <a:lnTo>
                  <a:pt x="7140339" y="55752"/>
                </a:lnTo>
                <a:lnTo>
                  <a:pt x="7154926" y="64262"/>
                </a:lnTo>
                <a:lnTo>
                  <a:pt x="7154926" y="47243"/>
                </a:lnTo>
                <a:close/>
              </a:path>
              <a:path w="7179945" h="111760">
                <a:moveTo>
                  <a:pt x="7160259" y="47243"/>
                </a:moveTo>
                <a:lnTo>
                  <a:pt x="7154926" y="47243"/>
                </a:lnTo>
                <a:lnTo>
                  <a:pt x="7154926" y="64262"/>
                </a:lnTo>
                <a:lnTo>
                  <a:pt x="7160259" y="64262"/>
                </a:lnTo>
                <a:lnTo>
                  <a:pt x="7160259" y="47243"/>
                </a:lnTo>
                <a:close/>
              </a:path>
              <a:path w="7179945" h="111760">
                <a:moveTo>
                  <a:pt x="7083933" y="0"/>
                </a:moveTo>
                <a:lnTo>
                  <a:pt x="7077836" y="1524"/>
                </a:lnTo>
                <a:lnTo>
                  <a:pt x="7075170" y="6350"/>
                </a:lnTo>
                <a:lnTo>
                  <a:pt x="7072376" y="11049"/>
                </a:lnTo>
                <a:lnTo>
                  <a:pt x="7073900" y="17144"/>
                </a:lnTo>
                <a:lnTo>
                  <a:pt x="7078726" y="19812"/>
                </a:lnTo>
                <a:lnTo>
                  <a:pt x="7140339" y="55752"/>
                </a:lnTo>
                <a:lnTo>
                  <a:pt x="7154926" y="47243"/>
                </a:lnTo>
                <a:lnTo>
                  <a:pt x="7160259" y="47243"/>
                </a:lnTo>
                <a:lnTo>
                  <a:pt x="7160259" y="45846"/>
                </a:lnTo>
                <a:lnTo>
                  <a:pt x="7162555" y="45846"/>
                </a:lnTo>
                <a:lnTo>
                  <a:pt x="7088632" y="2793"/>
                </a:lnTo>
                <a:lnTo>
                  <a:pt x="7083933" y="0"/>
                </a:lnTo>
                <a:close/>
              </a:path>
            </a:pathLst>
          </a:custGeom>
          <a:solidFill>
            <a:srgbClr val="7E7E7E"/>
          </a:solidFill>
        </p:spPr>
        <p:txBody>
          <a:bodyPr wrap="square" lIns="0" tIns="0" rIns="0" bIns="0" rtlCol="0"/>
          <a:lstStyle/>
          <a:p>
            <a:endParaRPr sz="2133" dirty="0"/>
          </a:p>
        </p:txBody>
      </p:sp>
      <p:grpSp>
        <p:nvGrpSpPr>
          <p:cNvPr id="4" name="object 4"/>
          <p:cNvGrpSpPr/>
          <p:nvPr/>
        </p:nvGrpSpPr>
        <p:grpSpPr>
          <a:xfrm>
            <a:off x="650239" y="2604006"/>
            <a:ext cx="11104879" cy="3458633"/>
            <a:chOff x="487679" y="1953005"/>
            <a:chExt cx="8328659" cy="2593975"/>
          </a:xfrm>
        </p:grpSpPr>
        <p:sp>
          <p:nvSpPr>
            <p:cNvPr id="5" name="object 5"/>
            <p:cNvSpPr/>
            <p:nvPr/>
          </p:nvSpPr>
          <p:spPr>
            <a:xfrm>
              <a:off x="1047750" y="3395344"/>
              <a:ext cx="7179945" cy="111760"/>
            </a:xfrm>
            <a:custGeom>
              <a:avLst/>
              <a:gdLst/>
              <a:ahLst/>
              <a:cxnLst/>
              <a:rect l="l" t="t" r="r" b="b"/>
              <a:pathLst>
                <a:path w="7179945" h="111760">
                  <a:moveTo>
                    <a:pt x="7140339" y="55752"/>
                  </a:moveTo>
                  <a:lnTo>
                    <a:pt x="7078726" y="91693"/>
                  </a:lnTo>
                  <a:lnTo>
                    <a:pt x="7073900" y="94360"/>
                  </a:lnTo>
                  <a:lnTo>
                    <a:pt x="7072376" y="100456"/>
                  </a:lnTo>
                  <a:lnTo>
                    <a:pt x="7075170" y="105155"/>
                  </a:lnTo>
                  <a:lnTo>
                    <a:pt x="7077836" y="109981"/>
                  </a:lnTo>
                  <a:lnTo>
                    <a:pt x="7083933" y="111505"/>
                  </a:lnTo>
                  <a:lnTo>
                    <a:pt x="7088632" y="108711"/>
                  </a:lnTo>
                  <a:lnTo>
                    <a:pt x="7162555" y="65658"/>
                  </a:lnTo>
                  <a:lnTo>
                    <a:pt x="7160259" y="65658"/>
                  </a:lnTo>
                  <a:lnTo>
                    <a:pt x="7160259" y="64261"/>
                  </a:lnTo>
                  <a:lnTo>
                    <a:pt x="7154926" y="64261"/>
                  </a:lnTo>
                  <a:lnTo>
                    <a:pt x="7140339" y="55752"/>
                  </a:lnTo>
                  <a:close/>
                </a:path>
                <a:path w="7179945" h="111760">
                  <a:moveTo>
                    <a:pt x="7123357" y="45846"/>
                  </a:moveTo>
                  <a:lnTo>
                    <a:pt x="0" y="45846"/>
                  </a:lnTo>
                  <a:lnTo>
                    <a:pt x="0" y="65658"/>
                  </a:lnTo>
                  <a:lnTo>
                    <a:pt x="7123357" y="65658"/>
                  </a:lnTo>
                  <a:lnTo>
                    <a:pt x="7140339" y="55752"/>
                  </a:lnTo>
                  <a:lnTo>
                    <a:pt x="7123357" y="45846"/>
                  </a:lnTo>
                  <a:close/>
                </a:path>
                <a:path w="7179945" h="111760">
                  <a:moveTo>
                    <a:pt x="7162555" y="45846"/>
                  </a:moveTo>
                  <a:lnTo>
                    <a:pt x="7160259" y="45846"/>
                  </a:lnTo>
                  <a:lnTo>
                    <a:pt x="7160259" y="65658"/>
                  </a:lnTo>
                  <a:lnTo>
                    <a:pt x="7162555" y="65658"/>
                  </a:lnTo>
                  <a:lnTo>
                    <a:pt x="7179564" y="55752"/>
                  </a:lnTo>
                  <a:lnTo>
                    <a:pt x="7162555" y="45846"/>
                  </a:lnTo>
                  <a:close/>
                </a:path>
                <a:path w="7179945" h="111760">
                  <a:moveTo>
                    <a:pt x="7154926" y="47243"/>
                  </a:moveTo>
                  <a:lnTo>
                    <a:pt x="7140339" y="55752"/>
                  </a:lnTo>
                  <a:lnTo>
                    <a:pt x="7154926" y="64261"/>
                  </a:lnTo>
                  <a:lnTo>
                    <a:pt x="7154926" y="47243"/>
                  </a:lnTo>
                  <a:close/>
                </a:path>
                <a:path w="7179945" h="111760">
                  <a:moveTo>
                    <a:pt x="7160259" y="47243"/>
                  </a:moveTo>
                  <a:lnTo>
                    <a:pt x="7154926" y="47243"/>
                  </a:lnTo>
                  <a:lnTo>
                    <a:pt x="7154926" y="64261"/>
                  </a:lnTo>
                  <a:lnTo>
                    <a:pt x="7160259" y="64261"/>
                  </a:lnTo>
                  <a:lnTo>
                    <a:pt x="7160259" y="47243"/>
                  </a:lnTo>
                  <a:close/>
                </a:path>
                <a:path w="7179945" h="111760">
                  <a:moveTo>
                    <a:pt x="7083933" y="0"/>
                  </a:moveTo>
                  <a:lnTo>
                    <a:pt x="7077836" y="1523"/>
                  </a:lnTo>
                  <a:lnTo>
                    <a:pt x="7075170" y="6349"/>
                  </a:lnTo>
                  <a:lnTo>
                    <a:pt x="7072376" y="11048"/>
                  </a:lnTo>
                  <a:lnTo>
                    <a:pt x="7073900" y="17144"/>
                  </a:lnTo>
                  <a:lnTo>
                    <a:pt x="7078726" y="19811"/>
                  </a:lnTo>
                  <a:lnTo>
                    <a:pt x="7140339" y="55752"/>
                  </a:lnTo>
                  <a:lnTo>
                    <a:pt x="7154926" y="47243"/>
                  </a:lnTo>
                  <a:lnTo>
                    <a:pt x="7160259" y="47243"/>
                  </a:lnTo>
                  <a:lnTo>
                    <a:pt x="7160259" y="45846"/>
                  </a:lnTo>
                  <a:lnTo>
                    <a:pt x="7162555" y="45846"/>
                  </a:lnTo>
                  <a:lnTo>
                    <a:pt x="7088632" y="2793"/>
                  </a:lnTo>
                  <a:lnTo>
                    <a:pt x="7083933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sp>
          <p:nvSpPr>
            <p:cNvPr id="6" name="object 6"/>
            <p:cNvSpPr/>
            <p:nvPr/>
          </p:nvSpPr>
          <p:spPr>
            <a:xfrm>
              <a:off x="689609" y="3272789"/>
              <a:ext cx="358140" cy="356870"/>
            </a:xfrm>
            <a:custGeom>
              <a:avLst/>
              <a:gdLst/>
              <a:ahLst/>
              <a:cxnLst/>
              <a:rect l="l" t="t" r="r" b="b"/>
              <a:pathLst>
                <a:path w="358140" h="356870">
                  <a:moveTo>
                    <a:pt x="0" y="178308"/>
                  </a:moveTo>
                  <a:lnTo>
                    <a:pt x="6396" y="130924"/>
                  </a:lnTo>
                  <a:lnTo>
                    <a:pt x="24448" y="88335"/>
                  </a:lnTo>
                  <a:lnTo>
                    <a:pt x="52449" y="52244"/>
                  </a:lnTo>
                  <a:lnTo>
                    <a:pt x="88691" y="24355"/>
                  </a:lnTo>
                  <a:lnTo>
                    <a:pt x="131467" y="6372"/>
                  </a:lnTo>
                  <a:lnTo>
                    <a:pt x="179070" y="0"/>
                  </a:lnTo>
                  <a:lnTo>
                    <a:pt x="226672" y="6372"/>
                  </a:lnTo>
                  <a:lnTo>
                    <a:pt x="269448" y="24355"/>
                  </a:lnTo>
                  <a:lnTo>
                    <a:pt x="305690" y="52244"/>
                  </a:lnTo>
                  <a:lnTo>
                    <a:pt x="333691" y="88335"/>
                  </a:lnTo>
                  <a:lnTo>
                    <a:pt x="351743" y="130924"/>
                  </a:lnTo>
                  <a:lnTo>
                    <a:pt x="358140" y="178308"/>
                  </a:lnTo>
                  <a:lnTo>
                    <a:pt x="351743" y="225691"/>
                  </a:lnTo>
                  <a:lnTo>
                    <a:pt x="333691" y="268280"/>
                  </a:lnTo>
                  <a:lnTo>
                    <a:pt x="305690" y="304371"/>
                  </a:lnTo>
                  <a:lnTo>
                    <a:pt x="269448" y="332260"/>
                  </a:lnTo>
                  <a:lnTo>
                    <a:pt x="226672" y="350243"/>
                  </a:lnTo>
                  <a:lnTo>
                    <a:pt x="179070" y="356616"/>
                  </a:lnTo>
                  <a:lnTo>
                    <a:pt x="131467" y="350243"/>
                  </a:lnTo>
                  <a:lnTo>
                    <a:pt x="88691" y="332260"/>
                  </a:lnTo>
                  <a:lnTo>
                    <a:pt x="52449" y="304371"/>
                  </a:lnTo>
                  <a:lnTo>
                    <a:pt x="24448" y="268280"/>
                  </a:lnTo>
                  <a:lnTo>
                    <a:pt x="6396" y="225691"/>
                  </a:lnTo>
                  <a:lnTo>
                    <a:pt x="0" y="178308"/>
                  </a:lnTo>
                  <a:close/>
                </a:path>
              </a:pathLst>
            </a:custGeom>
            <a:ln w="19811">
              <a:solidFill>
                <a:srgbClr val="337199"/>
              </a:solidFill>
            </a:ln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pic>
          <p:nvPicPr>
            <p:cNvPr id="7" name="object 7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4298" y="3319647"/>
              <a:ext cx="105491" cy="261065"/>
            </a:xfrm>
            <a:prstGeom prst="rect">
              <a:avLst/>
            </a:prstGeom>
          </p:spPr>
        </p:pic>
        <p:sp>
          <p:nvSpPr>
            <p:cNvPr id="8" name="object 8"/>
            <p:cNvSpPr/>
            <p:nvPr/>
          </p:nvSpPr>
          <p:spPr>
            <a:xfrm>
              <a:off x="8226551" y="3272027"/>
              <a:ext cx="356870" cy="356870"/>
            </a:xfrm>
            <a:custGeom>
              <a:avLst/>
              <a:gdLst/>
              <a:ahLst/>
              <a:cxnLst/>
              <a:rect l="l" t="t" r="r" b="b"/>
              <a:pathLst>
                <a:path w="356870" h="356870">
                  <a:moveTo>
                    <a:pt x="178307" y="0"/>
                  </a:moveTo>
                  <a:lnTo>
                    <a:pt x="130924" y="6372"/>
                  </a:lnTo>
                  <a:lnTo>
                    <a:pt x="88335" y="24355"/>
                  </a:lnTo>
                  <a:lnTo>
                    <a:pt x="52244" y="52244"/>
                  </a:lnTo>
                  <a:lnTo>
                    <a:pt x="24355" y="88335"/>
                  </a:lnTo>
                  <a:lnTo>
                    <a:pt x="6372" y="130924"/>
                  </a:lnTo>
                  <a:lnTo>
                    <a:pt x="0" y="178308"/>
                  </a:lnTo>
                  <a:lnTo>
                    <a:pt x="6372" y="225691"/>
                  </a:lnTo>
                  <a:lnTo>
                    <a:pt x="24355" y="268280"/>
                  </a:lnTo>
                  <a:lnTo>
                    <a:pt x="52244" y="304371"/>
                  </a:lnTo>
                  <a:lnTo>
                    <a:pt x="88335" y="332260"/>
                  </a:lnTo>
                  <a:lnTo>
                    <a:pt x="130924" y="350243"/>
                  </a:lnTo>
                  <a:lnTo>
                    <a:pt x="178307" y="356616"/>
                  </a:lnTo>
                  <a:lnTo>
                    <a:pt x="225691" y="350243"/>
                  </a:lnTo>
                  <a:lnTo>
                    <a:pt x="268280" y="332260"/>
                  </a:lnTo>
                  <a:lnTo>
                    <a:pt x="304371" y="304371"/>
                  </a:lnTo>
                  <a:lnTo>
                    <a:pt x="332260" y="268280"/>
                  </a:lnTo>
                  <a:lnTo>
                    <a:pt x="350243" y="225691"/>
                  </a:lnTo>
                  <a:lnTo>
                    <a:pt x="356616" y="178308"/>
                  </a:lnTo>
                  <a:lnTo>
                    <a:pt x="350243" y="130924"/>
                  </a:lnTo>
                  <a:lnTo>
                    <a:pt x="332260" y="88335"/>
                  </a:lnTo>
                  <a:lnTo>
                    <a:pt x="304371" y="52244"/>
                  </a:lnTo>
                  <a:lnTo>
                    <a:pt x="268280" y="24355"/>
                  </a:lnTo>
                  <a:lnTo>
                    <a:pt x="225691" y="6372"/>
                  </a:lnTo>
                  <a:lnTo>
                    <a:pt x="178307" y="0"/>
                  </a:lnTo>
                  <a:close/>
                </a:path>
              </a:pathLst>
            </a:custGeom>
            <a:solidFill>
              <a:srgbClr val="337199"/>
            </a:solidFill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pic>
          <p:nvPicPr>
            <p:cNvPr id="9" name="object 9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352002" y="3319647"/>
              <a:ext cx="105491" cy="261065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2660903" y="3360419"/>
              <a:ext cx="181355" cy="181355"/>
            </a:xfrm>
            <a:prstGeom prst="rect">
              <a:avLst/>
            </a:prstGeom>
          </p:spPr>
        </p:pic>
        <p:pic>
          <p:nvPicPr>
            <p:cNvPr id="11" name="object 11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3607308" y="3360419"/>
              <a:ext cx="181355" cy="181355"/>
            </a:xfrm>
            <a:prstGeom prst="rect">
              <a:avLst/>
            </a:prstGeom>
          </p:spPr>
        </p:pic>
        <p:pic>
          <p:nvPicPr>
            <p:cNvPr id="12" name="object 12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4553711" y="3360419"/>
              <a:ext cx="181355" cy="181355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5500116" y="3360419"/>
              <a:ext cx="181355" cy="181355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7391400" y="3360419"/>
              <a:ext cx="181355" cy="181355"/>
            </a:xfrm>
            <a:prstGeom prst="rect">
              <a:avLst/>
            </a:prstGeom>
          </p:spPr>
        </p:pic>
        <p:sp>
          <p:nvSpPr>
            <p:cNvPr id="15" name="object 15"/>
            <p:cNvSpPr/>
            <p:nvPr/>
          </p:nvSpPr>
          <p:spPr>
            <a:xfrm>
              <a:off x="487679" y="2939796"/>
              <a:ext cx="8328659" cy="0"/>
            </a:xfrm>
            <a:custGeom>
              <a:avLst/>
              <a:gdLst/>
              <a:ahLst/>
              <a:cxnLst/>
              <a:rect l="l" t="t" r="r" b="b"/>
              <a:pathLst>
                <a:path w="8328659">
                  <a:moveTo>
                    <a:pt x="0" y="0"/>
                  </a:moveTo>
                  <a:lnTo>
                    <a:pt x="8328533" y="0"/>
                  </a:lnTo>
                </a:path>
              </a:pathLst>
            </a:custGeom>
            <a:ln w="3175">
              <a:solidFill>
                <a:srgbClr val="BEBEBE"/>
              </a:solidFill>
            </a:ln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pic>
          <p:nvPicPr>
            <p:cNvPr id="19" name="object 19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911047" y="2275662"/>
              <a:ext cx="91440" cy="137464"/>
            </a:xfrm>
            <a:prstGeom prst="rect">
              <a:avLst/>
            </a:prstGeom>
          </p:spPr>
        </p:pic>
        <p:sp>
          <p:nvSpPr>
            <p:cNvPr id="28" name="object 28"/>
            <p:cNvSpPr/>
            <p:nvPr/>
          </p:nvSpPr>
          <p:spPr>
            <a:xfrm>
              <a:off x="1332738" y="1953005"/>
              <a:ext cx="946785" cy="2593975"/>
            </a:xfrm>
            <a:custGeom>
              <a:avLst/>
              <a:gdLst/>
              <a:ahLst/>
              <a:cxnLst/>
              <a:rect l="l" t="t" r="r" b="b"/>
              <a:pathLst>
                <a:path w="946785" h="2593975">
                  <a:moveTo>
                    <a:pt x="0" y="2593848"/>
                  </a:moveTo>
                  <a:lnTo>
                    <a:pt x="946403" y="2593848"/>
                  </a:lnTo>
                  <a:lnTo>
                    <a:pt x="946403" y="0"/>
                  </a:lnTo>
                  <a:lnTo>
                    <a:pt x="0" y="0"/>
                  </a:lnTo>
                  <a:lnTo>
                    <a:pt x="0" y="2593848"/>
                  </a:lnTo>
                  <a:close/>
                </a:path>
              </a:pathLst>
            </a:custGeom>
            <a:ln w="19812">
              <a:solidFill>
                <a:srgbClr val="337199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sp>
          <p:nvSpPr>
            <p:cNvPr id="41" name="object 41"/>
            <p:cNvSpPr/>
            <p:nvPr/>
          </p:nvSpPr>
          <p:spPr>
            <a:xfrm>
              <a:off x="6063234" y="1953005"/>
              <a:ext cx="946785" cy="2593975"/>
            </a:xfrm>
            <a:custGeom>
              <a:avLst/>
              <a:gdLst/>
              <a:ahLst/>
              <a:cxnLst/>
              <a:rect l="l" t="t" r="r" b="b"/>
              <a:pathLst>
                <a:path w="946784" h="2593975">
                  <a:moveTo>
                    <a:pt x="0" y="2593848"/>
                  </a:moveTo>
                  <a:lnTo>
                    <a:pt x="946404" y="2593848"/>
                  </a:lnTo>
                  <a:lnTo>
                    <a:pt x="946404" y="0"/>
                  </a:lnTo>
                  <a:lnTo>
                    <a:pt x="0" y="0"/>
                  </a:lnTo>
                  <a:lnTo>
                    <a:pt x="0" y="2593848"/>
                  </a:lnTo>
                  <a:close/>
                </a:path>
              </a:pathLst>
            </a:custGeom>
            <a:ln w="19812">
              <a:solidFill>
                <a:srgbClr val="337199"/>
              </a:solidFill>
              <a:prstDash val="sysDash"/>
            </a:ln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</p:grpSp>
      <p:pic>
        <p:nvPicPr>
          <p:cNvPr id="51" name="object 51"/>
          <p:cNvPicPr/>
          <p:nvPr/>
        </p:nvPicPr>
        <p:blipFill>
          <a:blip r:embed="rId12" cstate="print"/>
          <a:stretch>
            <a:fillRect/>
          </a:stretch>
        </p:blipFill>
        <p:spPr>
          <a:xfrm>
            <a:off x="649834" y="1779692"/>
            <a:ext cx="654252" cy="182880"/>
          </a:xfrm>
          <a:prstGeom prst="rect">
            <a:avLst/>
          </a:prstGeom>
        </p:spPr>
      </p:pic>
      <p:grpSp>
        <p:nvGrpSpPr>
          <p:cNvPr id="74" name="object 74"/>
          <p:cNvGrpSpPr/>
          <p:nvPr/>
        </p:nvGrpSpPr>
        <p:grpSpPr>
          <a:xfrm>
            <a:off x="906272" y="2064511"/>
            <a:ext cx="504613" cy="504613"/>
            <a:chOff x="679704" y="1548383"/>
            <a:chExt cx="378460" cy="378460"/>
          </a:xfrm>
        </p:grpSpPr>
        <p:sp>
          <p:nvSpPr>
            <p:cNvPr id="75" name="object 75"/>
            <p:cNvSpPr/>
            <p:nvPr/>
          </p:nvSpPr>
          <p:spPr>
            <a:xfrm>
              <a:off x="689610" y="1558289"/>
              <a:ext cx="358140" cy="358140"/>
            </a:xfrm>
            <a:custGeom>
              <a:avLst/>
              <a:gdLst/>
              <a:ahLst/>
              <a:cxnLst/>
              <a:rect l="l" t="t" r="r" b="b"/>
              <a:pathLst>
                <a:path w="358140" h="358139">
                  <a:moveTo>
                    <a:pt x="0" y="179070"/>
                  </a:moveTo>
                  <a:lnTo>
                    <a:pt x="6396" y="131453"/>
                  </a:lnTo>
                  <a:lnTo>
                    <a:pt x="24448" y="88674"/>
                  </a:lnTo>
                  <a:lnTo>
                    <a:pt x="52449" y="52435"/>
                  </a:lnTo>
                  <a:lnTo>
                    <a:pt x="88691" y="24440"/>
                  </a:lnTo>
                  <a:lnTo>
                    <a:pt x="131467" y="6394"/>
                  </a:lnTo>
                  <a:lnTo>
                    <a:pt x="179070" y="0"/>
                  </a:lnTo>
                  <a:lnTo>
                    <a:pt x="226672" y="6394"/>
                  </a:lnTo>
                  <a:lnTo>
                    <a:pt x="269448" y="24440"/>
                  </a:lnTo>
                  <a:lnTo>
                    <a:pt x="305690" y="52435"/>
                  </a:lnTo>
                  <a:lnTo>
                    <a:pt x="333691" y="88674"/>
                  </a:lnTo>
                  <a:lnTo>
                    <a:pt x="351743" y="131453"/>
                  </a:lnTo>
                  <a:lnTo>
                    <a:pt x="358140" y="179070"/>
                  </a:lnTo>
                  <a:lnTo>
                    <a:pt x="351743" y="226686"/>
                  </a:lnTo>
                  <a:lnTo>
                    <a:pt x="333691" y="269465"/>
                  </a:lnTo>
                  <a:lnTo>
                    <a:pt x="305690" y="305704"/>
                  </a:lnTo>
                  <a:lnTo>
                    <a:pt x="269448" y="333699"/>
                  </a:lnTo>
                  <a:lnTo>
                    <a:pt x="226672" y="351745"/>
                  </a:lnTo>
                  <a:lnTo>
                    <a:pt x="179070" y="358140"/>
                  </a:lnTo>
                  <a:lnTo>
                    <a:pt x="131467" y="351745"/>
                  </a:lnTo>
                  <a:lnTo>
                    <a:pt x="88691" y="333699"/>
                  </a:lnTo>
                  <a:lnTo>
                    <a:pt x="52449" y="305704"/>
                  </a:lnTo>
                  <a:lnTo>
                    <a:pt x="24448" y="269465"/>
                  </a:lnTo>
                  <a:lnTo>
                    <a:pt x="6396" y="226686"/>
                  </a:lnTo>
                  <a:lnTo>
                    <a:pt x="0" y="179070"/>
                  </a:lnTo>
                  <a:close/>
                </a:path>
              </a:pathLst>
            </a:custGeom>
            <a:ln w="19812">
              <a:solidFill>
                <a:srgbClr val="337199"/>
              </a:solidFill>
            </a:ln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pic>
          <p:nvPicPr>
            <p:cNvPr id="76" name="object 7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814298" y="1605147"/>
              <a:ext cx="105491" cy="261065"/>
            </a:xfrm>
            <a:prstGeom prst="rect">
              <a:avLst/>
            </a:prstGeom>
          </p:spPr>
        </p:pic>
      </p:grpSp>
      <p:grpSp>
        <p:nvGrpSpPr>
          <p:cNvPr id="77" name="object 77"/>
          <p:cNvGrpSpPr/>
          <p:nvPr/>
        </p:nvGrpSpPr>
        <p:grpSpPr>
          <a:xfrm>
            <a:off x="10968736" y="2076703"/>
            <a:ext cx="475827" cy="477520"/>
            <a:chOff x="8226552" y="1557527"/>
            <a:chExt cx="356870" cy="358140"/>
          </a:xfrm>
        </p:grpSpPr>
        <p:sp>
          <p:nvSpPr>
            <p:cNvPr id="78" name="object 78"/>
            <p:cNvSpPr/>
            <p:nvPr/>
          </p:nvSpPr>
          <p:spPr>
            <a:xfrm>
              <a:off x="8226552" y="1557527"/>
              <a:ext cx="356870" cy="358140"/>
            </a:xfrm>
            <a:custGeom>
              <a:avLst/>
              <a:gdLst/>
              <a:ahLst/>
              <a:cxnLst/>
              <a:rect l="l" t="t" r="r" b="b"/>
              <a:pathLst>
                <a:path w="356870" h="358139">
                  <a:moveTo>
                    <a:pt x="178307" y="0"/>
                  </a:moveTo>
                  <a:lnTo>
                    <a:pt x="130924" y="6394"/>
                  </a:lnTo>
                  <a:lnTo>
                    <a:pt x="88335" y="24440"/>
                  </a:lnTo>
                  <a:lnTo>
                    <a:pt x="52244" y="52435"/>
                  </a:lnTo>
                  <a:lnTo>
                    <a:pt x="24355" y="88674"/>
                  </a:lnTo>
                  <a:lnTo>
                    <a:pt x="6372" y="131453"/>
                  </a:lnTo>
                  <a:lnTo>
                    <a:pt x="0" y="179070"/>
                  </a:lnTo>
                  <a:lnTo>
                    <a:pt x="6372" y="226686"/>
                  </a:lnTo>
                  <a:lnTo>
                    <a:pt x="24355" y="269465"/>
                  </a:lnTo>
                  <a:lnTo>
                    <a:pt x="52244" y="305704"/>
                  </a:lnTo>
                  <a:lnTo>
                    <a:pt x="88335" y="333699"/>
                  </a:lnTo>
                  <a:lnTo>
                    <a:pt x="130924" y="351745"/>
                  </a:lnTo>
                  <a:lnTo>
                    <a:pt x="178307" y="358140"/>
                  </a:lnTo>
                  <a:lnTo>
                    <a:pt x="225691" y="351745"/>
                  </a:lnTo>
                  <a:lnTo>
                    <a:pt x="268280" y="333699"/>
                  </a:lnTo>
                  <a:lnTo>
                    <a:pt x="304371" y="305704"/>
                  </a:lnTo>
                  <a:lnTo>
                    <a:pt x="332260" y="269465"/>
                  </a:lnTo>
                  <a:lnTo>
                    <a:pt x="350243" y="226686"/>
                  </a:lnTo>
                  <a:lnTo>
                    <a:pt x="356616" y="179070"/>
                  </a:lnTo>
                  <a:lnTo>
                    <a:pt x="350243" y="131453"/>
                  </a:lnTo>
                  <a:lnTo>
                    <a:pt x="332260" y="88674"/>
                  </a:lnTo>
                  <a:lnTo>
                    <a:pt x="304371" y="52435"/>
                  </a:lnTo>
                  <a:lnTo>
                    <a:pt x="268280" y="24440"/>
                  </a:lnTo>
                  <a:lnTo>
                    <a:pt x="225691" y="6394"/>
                  </a:lnTo>
                  <a:lnTo>
                    <a:pt x="178307" y="0"/>
                  </a:lnTo>
                  <a:close/>
                </a:path>
              </a:pathLst>
            </a:custGeom>
            <a:solidFill>
              <a:srgbClr val="337199"/>
            </a:solidFill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pic>
          <p:nvPicPr>
            <p:cNvPr id="79" name="object 79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8352002" y="1605147"/>
              <a:ext cx="105491" cy="261065"/>
            </a:xfrm>
            <a:prstGeom prst="rect">
              <a:avLst/>
            </a:prstGeom>
          </p:spPr>
        </p:pic>
      </p:grpSp>
      <p:pic>
        <p:nvPicPr>
          <p:cNvPr id="80" name="object 80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2286001" y="2194561"/>
            <a:ext cx="241807" cy="241807"/>
          </a:xfrm>
          <a:prstGeom prst="rect">
            <a:avLst/>
          </a:prstGeom>
        </p:spPr>
      </p:pic>
      <p:pic>
        <p:nvPicPr>
          <p:cNvPr id="81" name="object 81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3547873" y="2194561"/>
            <a:ext cx="241807" cy="241807"/>
          </a:xfrm>
          <a:prstGeom prst="rect">
            <a:avLst/>
          </a:prstGeom>
        </p:spPr>
      </p:pic>
      <p:pic>
        <p:nvPicPr>
          <p:cNvPr id="82" name="object 82"/>
          <p:cNvPicPr/>
          <p:nvPr/>
        </p:nvPicPr>
        <p:blipFill>
          <a:blip r:embed="rId10" cstate="print"/>
          <a:stretch>
            <a:fillRect/>
          </a:stretch>
        </p:blipFill>
        <p:spPr>
          <a:xfrm>
            <a:off x="4809745" y="2194561"/>
            <a:ext cx="241807" cy="241807"/>
          </a:xfrm>
          <a:prstGeom prst="rect">
            <a:avLst/>
          </a:prstGeom>
        </p:spPr>
      </p:pic>
      <p:pic>
        <p:nvPicPr>
          <p:cNvPr id="83" name="object 83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6071615" y="2194561"/>
            <a:ext cx="241807" cy="241807"/>
          </a:xfrm>
          <a:prstGeom prst="rect">
            <a:avLst/>
          </a:prstGeom>
        </p:spPr>
      </p:pic>
      <p:pic>
        <p:nvPicPr>
          <p:cNvPr id="84" name="object 84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7333487" y="2194561"/>
            <a:ext cx="241807" cy="241807"/>
          </a:xfrm>
          <a:prstGeom prst="rect">
            <a:avLst/>
          </a:prstGeom>
        </p:spPr>
      </p:pic>
      <p:pic>
        <p:nvPicPr>
          <p:cNvPr id="85" name="object 85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8593329" y="2194561"/>
            <a:ext cx="241807" cy="241807"/>
          </a:xfrm>
          <a:prstGeom prst="rect">
            <a:avLst/>
          </a:prstGeom>
        </p:spPr>
      </p:pic>
      <p:pic>
        <p:nvPicPr>
          <p:cNvPr id="86" name="object 86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9855201" y="2194561"/>
            <a:ext cx="241807" cy="241807"/>
          </a:xfrm>
          <a:prstGeom prst="rect">
            <a:avLst/>
          </a:prstGeom>
        </p:spPr>
      </p:pic>
      <p:pic>
        <p:nvPicPr>
          <p:cNvPr id="106" name="object 106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649834" y="4065287"/>
            <a:ext cx="654252" cy="183285"/>
          </a:xfrm>
          <a:prstGeom prst="rect">
            <a:avLst/>
          </a:prstGeom>
        </p:spPr>
      </p:pic>
      <p:pic>
        <p:nvPicPr>
          <p:cNvPr id="128" name="object 128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10944691" y="1715323"/>
            <a:ext cx="869188" cy="182880"/>
          </a:xfrm>
          <a:prstGeom prst="rect">
            <a:avLst/>
          </a:prstGeom>
        </p:spPr>
      </p:pic>
      <p:sp>
        <p:nvSpPr>
          <p:cNvPr id="129" name="object 129"/>
          <p:cNvSpPr/>
          <p:nvPr/>
        </p:nvSpPr>
        <p:spPr>
          <a:xfrm>
            <a:off x="10616185" y="1699239"/>
            <a:ext cx="217593" cy="217593"/>
          </a:xfrm>
          <a:custGeom>
            <a:avLst/>
            <a:gdLst/>
            <a:ahLst/>
            <a:cxnLst/>
            <a:rect l="l" t="t" r="r" b="b"/>
            <a:pathLst>
              <a:path w="163195" h="163194">
                <a:moveTo>
                  <a:pt x="0" y="163067"/>
                </a:moveTo>
                <a:lnTo>
                  <a:pt x="163068" y="163067"/>
                </a:lnTo>
                <a:lnTo>
                  <a:pt x="163068" y="0"/>
                </a:lnTo>
                <a:lnTo>
                  <a:pt x="0" y="0"/>
                </a:lnTo>
                <a:lnTo>
                  <a:pt x="0" y="163067"/>
                </a:lnTo>
                <a:close/>
              </a:path>
            </a:pathLst>
          </a:custGeom>
          <a:ln w="19812">
            <a:solidFill>
              <a:srgbClr val="337199"/>
            </a:solidFill>
            <a:prstDash val="sysDash"/>
          </a:ln>
        </p:spPr>
        <p:txBody>
          <a:bodyPr wrap="square" lIns="0" tIns="0" rIns="0" bIns="0" rtlCol="0"/>
          <a:lstStyle/>
          <a:p>
            <a:endParaRPr sz="2133" dirty="0"/>
          </a:p>
        </p:txBody>
      </p:sp>
      <p:sp>
        <p:nvSpPr>
          <p:cNvPr id="134" name="Titel 1"/>
          <p:cNvSpPr>
            <a:spLocks noGrp="1"/>
          </p:cNvSpPr>
          <p:nvPr>
            <p:ph type="title"/>
          </p:nvPr>
        </p:nvSpPr>
        <p:spPr>
          <a:xfrm>
            <a:off x="655497" y="896207"/>
            <a:ext cx="10404000" cy="1008062"/>
          </a:xfrm>
        </p:spPr>
        <p:txBody>
          <a:bodyPr vert="horz"/>
          <a:lstStyle/>
          <a:p>
            <a:pPr marL="16933">
              <a:spcBef>
                <a:spcPts val="133"/>
              </a:spcBef>
            </a:pPr>
            <a:r>
              <a:rPr lang="de-DE" sz="1800" spc="-7" dirty="0">
                <a:solidFill>
                  <a:schemeClr val="bg2"/>
                </a:solidFill>
                <a:latin typeface="+mj-lt"/>
              </a:rPr>
              <a:t>Umfang der Online-Strecke</a:t>
            </a:r>
            <a:br>
              <a:rPr lang="de-DE" sz="1800" spc="-7" dirty="0">
                <a:solidFill>
                  <a:schemeClr val="bg2"/>
                </a:solidFill>
                <a:latin typeface="+mj-lt"/>
              </a:rPr>
            </a:br>
            <a:r>
              <a:rPr lang="de-DE" sz="2400" b="1" spc="-7" dirty="0" smtClean="0">
                <a:latin typeface="+mj-lt"/>
              </a:rPr>
              <a:t>Vorbereitung</a:t>
            </a:r>
            <a:r>
              <a:rPr lang="de-DE" sz="2400" b="1" spc="-47" dirty="0" smtClean="0">
                <a:latin typeface="+mj-lt"/>
              </a:rPr>
              <a:t> versus Abgabe einer Verpflichtungserklärung</a:t>
            </a:r>
            <a:endParaRPr lang="de-DE" sz="2400" b="1" dirty="0">
              <a:latin typeface="+mj-lt"/>
            </a:endParaRPr>
          </a:p>
        </p:txBody>
      </p:sp>
      <p:sp>
        <p:nvSpPr>
          <p:cNvPr id="2" name="Textfeld 1"/>
          <p:cNvSpPr txBox="1"/>
          <p:nvPr/>
        </p:nvSpPr>
        <p:spPr>
          <a:xfrm>
            <a:off x="658200" y="2636912"/>
            <a:ext cx="11437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möchte die Verpflichtungserklärung </a:t>
            </a:r>
            <a:r>
              <a:rPr lang="de-DE" sz="1200" dirty="0"/>
              <a:t>online abgeben</a:t>
            </a:r>
          </a:p>
        </p:txBody>
      </p:sp>
      <p:sp>
        <p:nvSpPr>
          <p:cNvPr id="130" name="Textfeld 129"/>
          <p:cNvSpPr txBox="1"/>
          <p:nvPr/>
        </p:nvSpPr>
        <p:spPr>
          <a:xfrm>
            <a:off x="592500" y="4886111"/>
            <a:ext cx="11437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möchte die Verpflichtungserklärung </a:t>
            </a:r>
            <a:r>
              <a:rPr lang="de-DE" sz="1200" dirty="0"/>
              <a:t>online vorbereiten</a:t>
            </a:r>
          </a:p>
        </p:txBody>
      </p:sp>
      <p:sp>
        <p:nvSpPr>
          <p:cNvPr id="131" name="Textfeld 130"/>
          <p:cNvSpPr txBox="1"/>
          <p:nvPr/>
        </p:nvSpPr>
        <p:spPr>
          <a:xfrm>
            <a:off x="1875082" y="2636912"/>
            <a:ext cx="11437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authentifiziert sich mit der Online-Ausweisfunktion</a:t>
            </a:r>
            <a:endParaRPr lang="de-DE" sz="1200" dirty="0"/>
          </a:p>
        </p:txBody>
      </p:sp>
      <p:sp>
        <p:nvSpPr>
          <p:cNvPr id="132" name="Textfeld 131"/>
          <p:cNvSpPr txBox="1"/>
          <p:nvPr/>
        </p:nvSpPr>
        <p:spPr>
          <a:xfrm>
            <a:off x="3236960" y="2636912"/>
            <a:ext cx="114370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nimmt Eingabe der Daten zur eigenen Person vor</a:t>
            </a:r>
            <a:endParaRPr lang="de-DE" sz="1200" dirty="0"/>
          </a:p>
        </p:txBody>
      </p:sp>
      <p:sp>
        <p:nvSpPr>
          <p:cNvPr id="135" name="Textfeld 134"/>
          <p:cNvSpPr txBox="1"/>
          <p:nvPr/>
        </p:nvSpPr>
        <p:spPr>
          <a:xfrm>
            <a:off x="3236960" y="4912275"/>
            <a:ext cx="114370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nimmt Eingabe der Daten zur eigenen Person vor</a:t>
            </a:r>
            <a:endParaRPr lang="de-DE" sz="1200" dirty="0"/>
          </a:p>
        </p:txBody>
      </p:sp>
      <p:sp>
        <p:nvSpPr>
          <p:cNvPr id="136" name="Textfeld 135"/>
          <p:cNvSpPr txBox="1"/>
          <p:nvPr/>
        </p:nvSpPr>
        <p:spPr>
          <a:xfrm>
            <a:off x="4592253" y="2636912"/>
            <a:ext cx="11437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macht Angaben zur eigenen Bonität</a:t>
            </a:r>
            <a:endParaRPr lang="de-DE" sz="1200" dirty="0"/>
          </a:p>
        </p:txBody>
      </p:sp>
      <p:sp>
        <p:nvSpPr>
          <p:cNvPr id="138" name="Textfeld 137"/>
          <p:cNvSpPr txBox="1"/>
          <p:nvPr/>
        </p:nvSpPr>
        <p:spPr>
          <a:xfrm>
            <a:off x="4592253" y="4912275"/>
            <a:ext cx="11437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macht Angaben zur eigenen Bonität</a:t>
            </a:r>
            <a:endParaRPr lang="de-DE" sz="1200" dirty="0"/>
          </a:p>
        </p:txBody>
      </p:sp>
      <p:sp>
        <p:nvSpPr>
          <p:cNvPr id="139" name="Textfeld 138"/>
          <p:cNvSpPr txBox="1"/>
          <p:nvPr/>
        </p:nvSpPr>
        <p:spPr>
          <a:xfrm>
            <a:off x="5816389" y="2636912"/>
            <a:ext cx="11437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nimmt Eingabe der Daten zum Gast vor</a:t>
            </a:r>
            <a:endParaRPr lang="de-DE" sz="1200" dirty="0"/>
          </a:p>
        </p:txBody>
      </p:sp>
      <p:sp>
        <p:nvSpPr>
          <p:cNvPr id="140" name="Textfeld 139"/>
          <p:cNvSpPr txBox="1"/>
          <p:nvPr/>
        </p:nvSpPr>
        <p:spPr>
          <a:xfrm>
            <a:off x="5816389" y="4912275"/>
            <a:ext cx="114370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nimmt Eingabe der Daten zum Gast vor</a:t>
            </a:r>
            <a:endParaRPr lang="de-DE" sz="1200" dirty="0"/>
          </a:p>
        </p:txBody>
      </p:sp>
      <p:sp>
        <p:nvSpPr>
          <p:cNvPr id="141" name="Textfeld 140"/>
          <p:cNvSpPr txBox="1"/>
          <p:nvPr/>
        </p:nvSpPr>
        <p:spPr>
          <a:xfrm>
            <a:off x="6968517" y="4912275"/>
            <a:ext cx="11437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lädt Nachweise hoch</a:t>
            </a:r>
            <a:endParaRPr lang="de-DE" sz="1200" dirty="0"/>
          </a:p>
        </p:txBody>
      </p:sp>
      <p:sp>
        <p:nvSpPr>
          <p:cNvPr id="142" name="Textfeld 141"/>
          <p:cNvSpPr txBox="1"/>
          <p:nvPr/>
        </p:nvSpPr>
        <p:spPr>
          <a:xfrm>
            <a:off x="6968517" y="2636912"/>
            <a:ext cx="11437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lädt Nachweise hoch</a:t>
            </a:r>
            <a:endParaRPr lang="de-DE" sz="1200" dirty="0"/>
          </a:p>
        </p:txBody>
      </p:sp>
      <p:sp>
        <p:nvSpPr>
          <p:cNvPr id="143" name="Textfeld 142"/>
          <p:cNvSpPr txBox="1"/>
          <p:nvPr/>
        </p:nvSpPr>
        <p:spPr>
          <a:xfrm>
            <a:off x="8200037" y="2636912"/>
            <a:ext cx="114370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wählt Übermittlungsart der Verpflichtungserklärung</a:t>
            </a:r>
            <a:endParaRPr lang="de-DE" sz="1200" dirty="0"/>
          </a:p>
        </p:txBody>
      </p:sp>
      <p:sp>
        <p:nvSpPr>
          <p:cNvPr id="144" name="Textfeld 143"/>
          <p:cNvSpPr txBox="1"/>
          <p:nvPr/>
        </p:nvSpPr>
        <p:spPr>
          <a:xfrm>
            <a:off x="9552384" y="4912275"/>
            <a:ext cx="114370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zahlt </a:t>
            </a:r>
            <a:r>
              <a:rPr lang="de-DE" sz="1200" dirty="0"/>
              <a:t>Verwaltungsgebühren</a:t>
            </a:r>
          </a:p>
        </p:txBody>
      </p:sp>
      <p:sp>
        <p:nvSpPr>
          <p:cNvPr id="145" name="Textfeld 144"/>
          <p:cNvSpPr txBox="1"/>
          <p:nvPr/>
        </p:nvSpPr>
        <p:spPr>
          <a:xfrm>
            <a:off x="9552384" y="2636912"/>
            <a:ext cx="114370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zahlt </a:t>
            </a:r>
            <a:r>
              <a:rPr lang="de-DE" sz="1200" dirty="0"/>
              <a:t>Verwaltungsgebühren </a:t>
            </a:r>
            <a:r>
              <a:rPr lang="de-DE" sz="1200" b="0" dirty="0"/>
              <a:t>und </a:t>
            </a:r>
            <a:r>
              <a:rPr lang="de-DE" sz="1200" dirty="0"/>
              <a:t>Portogebühren</a:t>
            </a:r>
          </a:p>
        </p:txBody>
      </p:sp>
      <p:sp>
        <p:nvSpPr>
          <p:cNvPr id="146" name="Textfeld 145"/>
          <p:cNvSpPr txBox="1"/>
          <p:nvPr/>
        </p:nvSpPr>
        <p:spPr>
          <a:xfrm>
            <a:off x="10695335" y="2636912"/>
            <a:ext cx="120237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gibt </a:t>
            </a:r>
            <a:r>
              <a:rPr lang="de-DE" sz="1200" b="0" dirty="0" smtClean="0"/>
              <a:t>Verpflichtungs-erklärung </a:t>
            </a:r>
            <a:r>
              <a:rPr lang="de-DE" sz="1200" dirty="0"/>
              <a:t>rechtsverbindlich</a:t>
            </a:r>
            <a:r>
              <a:rPr lang="de-DE" sz="1200" b="0" dirty="0"/>
              <a:t> ab</a:t>
            </a:r>
            <a:endParaRPr lang="de-DE" sz="1200" dirty="0"/>
          </a:p>
        </p:txBody>
      </p:sp>
      <p:sp>
        <p:nvSpPr>
          <p:cNvPr id="147" name="Textfeld 146"/>
          <p:cNvSpPr txBox="1"/>
          <p:nvPr/>
        </p:nvSpPr>
        <p:spPr>
          <a:xfrm>
            <a:off x="10695335" y="4912275"/>
            <a:ext cx="1143707" cy="16850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utzer sendet Daten zur </a:t>
            </a:r>
            <a:r>
              <a:rPr lang="de-DE" sz="1200" dirty="0"/>
              <a:t>Vorbereitung</a:t>
            </a:r>
            <a:r>
              <a:rPr lang="de-DE" sz="1200" b="0" dirty="0"/>
              <a:t> der Verpflichtungserklärung ab</a:t>
            </a:r>
          </a:p>
          <a:p>
            <a:r>
              <a:rPr lang="de-DE" sz="1000" b="0" dirty="0"/>
              <a:t>(pers. Termin in ABH zwingend notwendig)</a:t>
            </a:r>
            <a:endParaRPr lang="de-DE" sz="1000" dirty="0"/>
          </a:p>
        </p:txBody>
      </p:sp>
      <p:grpSp>
        <p:nvGrpSpPr>
          <p:cNvPr id="148" name="easyIcon">
            <a:extLst>
              <a:ext uri="{FF2B5EF4-FFF2-40B4-BE49-F238E27FC236}">
                <a16:creationId xmlns:a16="http://schemas.microsoft.com/office/drawing/2014/main" id="{5B7FA83D-092B-4DBF-8530-7CE9F3B228FB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11205915" y="3880708"/>
            <a:ext cx="648001" cy="648001"/>
            <a:chOff x="5245900" y="5504819"/>
            <a:chExt cx="773555" cy="773555"/>
          </a:xfrm>
        </p:grpSpPr>
        <p:sp>
          <p:nvSpPr>
            <p:cNvPr id="149" name="Background">
              <a:extLst>
                <a:ext uri="{FF2B5EF4-FFF2-40B4-BE49-F238E27FC236}">
                  <a16:creationId xmlns:a16="http://schemas.microsoft.com/office/drawing/2014/main" id="{3784EFB3-3974-4616-89D4-0D5B02E48549}"/>
                </a:ext>
              </a:extLst>
            </p:cNvPr>
            <p:cNvSpPr/>
            <p:nvPr/>
          </p:nvSpPr>
          <p:spPr>
            <a:xfrm>
              <a:off x="5245900" y="5504819"/>
              <a:ext cx="773555" cy="773555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E60032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E60032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sp>
          <p:nvSpPr>
            <p:cNvPr id="150" name="Vector">
              <a:extLst>
                <a:ext uri="{FF2B5EF4-FFF2-40B4-BE49-F238E27FC236}">
                  <a16:creationId xmlns:a16="http://schemas.microsoft.com/office/drawing/2014/main" id="{12221A71-83B2-4357-8F85-44597EF725F5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5344677" y="5603596"/>
              <a:ext cx="576001" cy="576001"/>
            </a:xfrm>
            <a:custGeom>
              <a:avLst/>
              <a:gdLst>
                <a:gd name="connsiteX0" fmla="*/ 581025 w 590550"/>
                <a:gd name="connsiteY0" fmla="*/ 342900 h 590550"/>
                <a:gd name="connsiteX1" fmla="*/ 438150 w 590550"/>
                <a:gd name="connsiteY1" fmla="*/ 342900 h 590550"/>
                <a:gd name="connsiteX2" fmla="*/ 438150 w 590550"/>
                <a:gd name="connsiteY2" fmla="*/ 257175 h 590550"/>
                <a:gd name="connsiteX3" fmla="*/ 434159 w 590550"/>
                <a:gd name="connsiteY3" fmla="*/ 249422 h 590550"/>
                <a:gd name="connsiteX4" fmla="*/ 304800 w 590550"/>
                <a:gd name="connsiteY4" fmla="*/ 157020 h 590550"/>
                <a:gd name="connsiteX5" fmla="*/ 304800 w 590550"/>
                <a:gd name="connsiteY5" fmla="*/ 95250 h 590550"/>
                <a:gd name="connsiteX6" fmla="*/ 400050 w 590550"/>
                <a:gd name="connsiteY6" fmla="*/ 95250 h 590550"/>
                <a:gd name="connsiteX7" fmla="*/ 409575 w 590550"/>
                <a:gd name="connsiteY7" fmla="*/ 85725 h 590550"/>
                <a:gd name="connsiteX8" fmla="*/ 409575 w 590550"/>
                <a:gd name="connsiteY8" fmla="*/ 9525 h 590550"/>
                <a:gd name="connsiteX9" fmla="*/ 400050 w 590550"/>
                <a:gd name="connsiteY9" fmla="*/ 0 h 590550"/>
                <a:gd name="connsiteX10" fmla="*/ 295275 w 590550"/>
                <a:gd name="connsiteY10" fmla="*/ 0 h 590550"/>
                <a:gd name="connsiteX11" fmla="*/ 285750 w 590550"/>
                <a:gd name="connsiteY11" fmla="*/ 9525 h 590550"/>
                <a:gd name="connsiteX12" fmla="*/ 285750 w 590550"/>
                <a:gd name="connsiteY12" fmla="*/ 157020 h 590550"/>
                <a:gd name="connsiteX13" fmla="*/ 156391 w 590550"/>
                <a:gd name="connsiteY13" fmla="*/ 249422 h 590550"/>
                <a:gd name="connsiteX14" fmla="*/ 152400 w 590550"/>
                <a:gd name="connsiteY14" fmla="*/ 257175 h 590550"/>
                <a:gd name="connsiteX15" fmla="*/ 152400 w 590550"/>
                <a:gd name="connsiteY15" fmla="*/ 342900 h 590550"/>
                <a:gd name="connsiteX16" fmla="*/ 9525 w 590550"/>
                <a:gd name="connsiteY16" fmla="*/ 342900 h 590550"/>
                <a:gd name="connsiteX17" fmla="*/ 0 w 590550"/>
                <a:gd name="connsiteY17" fmla="*/ 352425 h 590550"/>
                <a:gd name="connsiteX18" fmla="*/ 0 w 590550"/>
                <a:gd name="connsiteY18" fmla="*/ 581025 h 590550"/>
                <a:gd name="connsiteX19" fmla="*/ 9525 w 590550"/>
                <a:gd name="connsiteY19" fmla="*/ 590550 h 590550"/>
                <a:gd name="connsiteX20" fmla="*/ 247650 w 590550"/>
                <a:gd name="connsiteY20" fmla="*/ 590550 h 590550"/>
                <a:gd name="connsiteX21" fmla="*/ 247650 w 590550"/>
                <a:gd name="connsiteY21" fmla="*/ 447675 h 590550"/>
                <a:gd name="connsiteX22" fmla="*/ 257175 w 590550"/>
                <a:gd name="connsiteY22" fmla="*/ 438150 h 590550"/>
                <a:gd name="connsiteX23" fmla="*/ 333375 w 590550"/>
                <a:gd name="connsiteY23" fmla="*/ 438150 h 590550"/>
                <a:gd name="connsiteX24" fmla="*/ 342900 w 590550"/>
                <a:gd name="connsiteY24" fmla="*/ 447675 h 590550"/>
                <a:gd name="connsiteX25" fmla="*/ 342900 w 590550"/>
                <a:gd name="connsiteY25" fmla="*/ 590550 h 590550"/>
                <a:gd name="connsiteX26" fmla="*/ 581025 w 590550"/>
                <a:gd name="connsiteY26" fmla="*/ 590550 h 590550"/>
                <a:gd name="connsiteX27" fmla="*/ 590550 w 590550"/>
                <a:gd name="connsiteY27" fmla="*/ 581025 h 590550"/>
                <a:gd name="connsiteX28" fmla="*/ 590550 w 590550"/>
                <a:gd name="connsiteY28" fmla="*/ 352425 h 590550"/>
                <a:gd name="connsiteX29" fmla="*/ 581025 w 590550"/>
                <a:gd name="connsiteY29" fmla="*/ 342900 h 590550"/>
                <a:gd name="connsiteX30" fmla="*/ 161925 w 590550"/>
                <a:gd name="connsiteY30" fmla="*/ 495300 h 590550"/>
                <a:gd name="connsiteX31" fmla="*/ 152400 w 590550"/>
                <a:gd name="connsiteY31" fmla="*/ 504825 h 590550"/>
                <a:gd name="connsiteX32" fmla="*/ 85725 w 590550"/>
                <a:gd name="connsiteY32" fmla="*/ 504825 h 590550"/>
                <a:gd name="connsiteX33" fmla="*/ 76200 w 590550"/>
                <a:gd name="connsiteY33" fmla="*/ 495300 h 590550"/>
                <a:gd name="connsiteX34" fmla="*/ 76200 w 590550"/>
                <a:gd name="connsiteY34" fmla="*/ 447675 h 590550"/>
                <a:gd name="connsiteX35" fmla="*/ 85725 w 590550"/>
                <a:gd name="connsiteY35" fmla="*/ 438150 h 590550"/>
                <a:gd name="connsiteX36" fmla="*/ 152400 w 590550"/>
                <a:gd name="connsiteY36" fmla="*/ 438150 h 590550"/>
                <a:gd name="connsiteX37" fmla="*/ 161925 w 590550"/>
                <a:gd name="connsiteY37" fmla="*/ 447675 h 590550"/>
                <a:gd name="connsiteX38" fmla="*/ 161925 w 590550"/>
                <a:gd name="connsiteY38" fmla="*/ 495300 h 590550"/>
                <a:gd name="connsiteX39" fmla="*/ 342900 w 590550"/>
                <a:gd name="connsiteY39" fmla="*/ 342900 h 590550"/>
                <a:gd name="connsiteX40" fmla="*/ 333375 w 590550"/>
                <a:gd name="connsiteY40" fmla="*/ 352425 h 590550"/>
                <a:gd name="connsiteX41" fmla="*/ 257175 w 590550"/>
                <a:gd name="connsiteY41" fmla="*/ 352425 h 590550"/>
                <a:gd name="connsiteX42" fmla="*/ 247650 w 590550"/>
                <a:gd name="connsiteY42" fmla="*/ 342900 h 590550"/>
                <a:gd name="connsiteX43" fmla="*/ 247650 w 590550"/>
                <a:gd name="connsiteY43" fmla="*/ 295275 h 590550"/>
                <a:gd name="connsiteX44" fmla="*/ 257175 w 590550"/>
                <a:gd name="connsiteY44" fmla="*/ 285750 h 590550"/>
                <a:gd name="connsiteX45" fmla="*/ 333375 w 590550"/>
                <a:gd name="connsiteY45" fmla="*/ 285750 h 590550"/>
                <a:gd name="connsiteX46" fmla="*/ 342900 w 590550"/>
                <a:gd name="connsiteY46" fmla="*/ 295275 h 590550"/>
                <a:gd name="connsiteX47" fmla="*/ 342900 w 590550"/>
                <a:gd name="connsiteY47" fmla="*/ 342900 h 590550"/>
                <a:gd name="connsiteX48" fmla="*/ 514350 w 590550"/>
                <a:gd name="connsiteY48" fmla="*/ 495300 h 590550"/>
                <a:gd name="connsiteX49" fmla="*/ 504825 w 590550"/>
                <a:gd name="connsiteY49" fmla="*/ 504825 h 590550"/>
                <a:gd name="connsiteX50" fmla="*/ 438150 w 590550"/>
                <a:gd name="connsiteY50" fmla="*/ 504825 h 590550"/>
                <a:gd name="connsiteX51" fmla="*/ 428625 w 590550"/>
                <a:gd name="connsiteY51" fmla="*/ 495300 h 590550"/>
                <a:gd name="connsiteX52" fmla="*/ 428625 w 590550"/>
                <a:gd name="connsiteY52" fmla="*/ 447675 h 590550"/>
                <a:gd name="connsiteX53" fmla="*/ 438150 w 590550"/>
                <a:gd name="connsiteY53" fmla="*/ 438150 h 590550"/>
                <a:gd name="connsiteX54" fmla="*/ 504825 w 590550"/>
                <a:gd name="connsiteY54" fmla="*/ 438150 h 590550"/>
                <a:gd name="connsiteX55" fmla="*/ 514350 w 590550"/>
                <a:gd name="connsiteY55" fmla="*/ 447675 h 590550"/>
                <a:gd name="connsiteX56" fmla="*/ 514350 w 590550"/>
                <a:gd name="connsiteY56" fmla="*/ 495300 h 5905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</a:cxnLst>
              <a:rect l="l" t="t" r="r" b="b"/>
              <a:pathLst>
                <a:path w="590550" h="590550">
                  <a:moveTo>
                    <a:pt x="581025" y="342900"/>
                  </a:moveTo>
                  <a:lnTo>
                    <a:pt x="438150" y="342900"/>
                  </a:lnTo>
                  <a:lnTo>
                    <a:pt x="438150" y="257175"/>
                  </a:lnTo>
                  <a:cubicBezTo>
                    <a:pt x="438150" y="254098"/>
                    <a:pt x="436664" y="251212"/>
                    <a:pt x="434159" y="249422"/>
                  </a:cubicBezTo>
                  <a:lnTo>
                    <a:pt x="304800" y="157020"/>
                  </a:lnTo>
                  <a:lnTo>
                    <a:pt x="304800" y="95250"/>
                  </a:lnTo>
                  <a:lnTo>
                    <a:pt x="400050" y="95250"/>
                  </a:lnTo>
                  <a:cubicBezTo>
                    <a:pt x="405317" y="95250"/>
                    <a:pt x="409575" y="90983"/>
                    <a:pt x="409575" y="85725"/>
                  </a:cubicBezTo>
                  <a:lnTo>
                    <a:pt x="409575" y="9525"/>
                  </a:lnTo>
                  <a:cubicBezTo>
                    <a:pt x="409575" y="4267"/>
                    <a:pt x="405317" y="0"/>
                    <a:pt x="400050" y="0"/>
                  </a:cubicBezTo>
                  <a:lnTo>
                    <a:pt x="295275" y="0"/>
                  </a:lnTo>
                  <a:cubicBezTo>
                    <a:pt x="290008" y="0"/>
                    <a:pt x="285750" y="4267"/>
                    <a:pt x="285750" y="9525"/>
                  </a:cubicBezTo>
                  <a:lnTo>
                    <a:pt x="285750" y="157020"/>
                  </a:lnTo>
                  <a:lnTo>
                    <a:pt x="156391" y="249422"/>
                  </a:lnTo>
                  <a:cubicBezTo>
                    <a:pt x="153886" y="251212"/>
                    <a:pt x="152400" y="254098"/>
                    <a:pt x="152400" y="257175"/>
                  </a:cubicBezTo>
                  <a:lnTo>
                    <a:pt x="152400" y="342900"/>
                  </a:lnTo>
                  <a:lnTo>
                    <a:pt x="9525" y="342900"/>
                  </a:lnTo>
                  <a:cubicBezTo>
                    <a:pt x="4258" y="342900"/>
                    <a:pt x="0" y="347167"/>
                    <a:pt x="0" y="352425"/>
                  </a:cubicBezTo>
                  <a:lnTo>
                    <a:pt x="0" y="581025"/>
                  </a:lnTo>
                  <a:cubicBezTo>
                    <a:pt x="0" y="586283"/>
                    <a:pt x="4258" y="590550"/>
                    <a:pt x="9525" y="590550"/>
                  </a:cubicBezTo>
                  <a:lnTo>
                    <a:pt x="247650" y="590550"/>
                  </a:lnTo>
                  <a:lnTo>
                    <a:pt x="247650" y="447675"/>
                  </a:lnTo>
                  <a:cubicBezTo>
                    <a:pt x="247650" y="442417"/>
                    <a:pt x="251908" y="438150"/>
                    <a:pt x="257175" y="438150"/>
                  </a:cubicBezTo>
                  <a:lnTo>
                    <a:pt x="333375" y="438150"/>
                  </a:lnTo>
                  <a:cubicBezTo>
                    <a:pt x="338642" y="438150"/>
                    <a:pt x="342900" y="442417"/>
                    <a:pt x="342900" y="447675"/>
                  </a:cubicBezTo>
                  <a:lnTo>
                    <a:pt x="342900" y="590550"/>
                  </a:lnTo>
                  <a:lnTo>
                    <a:pt x="581025" y="590550"/>
                  </a:lnTo>
                  <a:cubicBezTo>
                    <a:pt x="586292" y="590550"/>
                    <a:pt x="590550" y="586283"/>
                    <a:pt x="590550" y="581025"/>
                  </a:cubicBezTo>
                  <a:lnTo>
                    <a:pt x="590550" y="352425"/>
                  </a:lnTo>
                  <a:cubicBezTo>
                    <a:pt x="590550" y="347167"/>
                    <a:pt x="586292" y="342900"/>
                    <a:pt x="581025" y="342900"/>
                  </a:cubicBezTo>
                  <a:close/>
                  <a:moveTo>
                    <a:pt x="161925" y="495300"/>
                  </a:moveTo>
                  <a:cubicBezTo>
                    <a:pt x="161925" y="500558"/>
                    <a:pt x="157667" y="504825"/>
                    <a:pt x="152400" y="504825"/>
                  </a:cubicBezTo>
                  <a:lnTo>
                    <a:pt x="85725" y="504825"/>
                  </a:lnTo>
                  <a:cubicBezTo>
                    <a:pt x="80458" y="504825"/>
                    <a:pt x="76200" y="500558"/>
                    <a:pt x="76200" y="495300"/>
                  </a:cubicBezTo>
                  <a:lnTo>
                    <a:pt x="76200" y="447675"/>
                  </a:lnTo>
                  <a:cubicBezTo>
                    <a:pt x="76200" y="442417"/>
                    <a:pt x="80458" y="438150"/>
                    <a:pt x="85725" y="438150"/>
                  </a:cubicBezTo>
                  <a:lnTo>
                    <a:pt x="152400" y="438150"/>
                  </a:lnTo>
                  <a:cubicBezTo>
                    <a:pt x="157667" y="438150"/>
                    <a:pt x="161925" y="442417"/>
                    <a:pt x="161925" y="447675"/>
                  </a:cubicBezTo>
                  <a:lnTo>
                    <a:pt x="161925" y="495300"/>
                  </a:lnTo>
                  <a:close/>
                  <a:moveTo>
                    <a:pt x="342900" y="342900"/>
                  </a:moveTo>
                  <a:cubicBezTo>
                    <a:pt x="342900" y="348158"/>
                    <a:pt x="338642" y="352425"/>
                    <a:pt x="333375" y="352425"/>
                  </a:cubicBezTo>
                  <a:lnTo>
                    <a:pt x="257175" y="352425"/>
                  </a:lnTo>
                  <a:cubicBezTo>
                    <a:pt x="251908" y="352425"/>
                    <a:pt x="247650" y="348158"/>
                    <a:pt x="247650" y="342900"/>
                  </a:cubicBezTo>
                  <a:lnTo>
                    <a:pt x="247650" y="295275"/>
                  </a:lnTo>
                  <a:cubicBezTo>
                    <a:pt x="247650" y="290017"/>
                    <a:pt x="251908" y="285750"/>
                    <a:pt x="257175" y="285750"/>
                  </a:cubicBezTo>
                  <a:lnTo>
                    <a:pt x="333375" y="285750"/>
                  </a:lnTo>
                  <a:cubicBezTo>
                    <a:pt x="338642" y="285750"/>
                    <a:pt x="342900" y="290017"/>
                    <a:pt x="342900" y="295275"/>
                  </a:cubicBezTo>
                  <a:lnTo>
                    <a:pt x="342900" y="342900"/>
                  </a:lnTo>
                  <a:close/>
                  <a:moveTo>
                    <a:pt x="514350" y="495300"/>
                  </a:moveTo>
                  <a:cubicBezTo>
                    <a:pt x="514350" y="500558"/>
                    <a:pt x="510092" y="504825"/>
                    <a:pt x="504825" y="504825"/>
                  </a:cubicBezTo>
                  <a:lnTo>
                    <a:pt x="438150" y="504825"/>
                  </a:lnTo>
                  <a:cubicBezTo>
                    <a:pt x="432883" y="504825"/>
                    <a:pt x="428625" y="500558"/>
                    <a:pt x="428625" y="495300"/>
                  </a:cubicBezTo>
                  <a:lnTo>
                    <a:pt x="428625" y="447675"/>
                  </a:lnTo>
                  <a:cubicBezTo>
                    <a:pt x="428625" y="442417"/>
                    <a:pt x="432883" y="438150"/>
                    <a:pt x="438150" y="438150"/>
                  </a:cubicBezTo>
                  <a:lnTo>
                    <a:pt x="504825" y="438150"/>
                  </a:lnTo>
                  <a:cubicBezTo>
                    <a:pt x="510092" y="438150"/>
                    <a:pt x="514350" y="442417"/>
                    <a:pt x="514350" y="447675"/>
                  </a:cubicBezTo>
                  <a:lnTo>
                    <a:pt x="514350" y="495300"/>
                  </a:lnTo>
                  <a:close/>
                </a:path>
              </a:pathLst>
            </a:custGeom>
            <a:solidFill>
              <a:srgbClr val="337199"/>
            </a:solidFill>
            <a:ln w="9525" cap="flat">
              <a:solidFill>
                <a:schemeClr val="bg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de-DE">
                <a:solidFill>
                  <a:srgbClr val="FFFFF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35860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9" name="Objekt 3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1" name="think-cell Folie" r:id="rId4" imgW="426" imgH="428" progId="TCLayout.ActiveDocument.1">
                  <p:embed/>
                </p:oleObj>
              </mc:Choice>
              <mc:Fallback>
                <p:oleObj name="think-cell Folie" r:id="rId4" imgW="426" imgH="428" progId="TCLayout.ActiveDocument.1">
                  <p:embed/>
                  <p:pic>
                    <p:nvPicPr>
                      <p:cNvPr id="39" name="Objekt 3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object 2"/>
          <p:cNvPicPr/>
          <p:nvPr/>
        </p:nvPicPr>
        <p:blipFill>
          <a:blip r:embed="rId6" cstate="print"/>
          <a:stretch>
            <a:fillRect/>
          </a:stretch>
        </p:blipFill>
        <p:spPr>
          <a:xfrm>
            <a:off x="11419501" y="6475578"/>
            <a:ext cx="379984" cy="121919"/>
          </a:xfrm>
          <a:prstGeom prst="rect">
            <a:avLst/>
          </a:prstGeom>
        </p:spPr>
      </p:pic>
      <p:grpSp>
        <p:nvGrpSpPr>
          <p:cNvPr id="4" name="object 4"/>
          <p:cNvGrpSpPr/>
          <p:nvPr/>
        </p:nvGrpSpPr>
        <p:grpSpPr>
          <a:xfrm>
            <a:off x="6492239" y="2071895"/>
            <a:ext cx="5262880" cy="3623801"/>
            <a:chOff x="4869179" y="1553921"/>
            <a:chExt cx="3947160" cy="2717851"/>
          </a:xfrm>
        </p:grpSpPr>
        <p:sp>
          <p:nvSpPr>
            <p:cNvPr id="5" name="object 5"/>
            <p:cNvSpPr/>
            <p:nvPr/>
          </p:nvSpPr>
          <p:spPr>
            <a:xfrm>
              <a:off x="4869179" y="1772412"/>
              <a:ext cx="3947160" cy="2499360"/>
            </a:xfrm>
            <a:custGeom>
              <a:avLst/>
              <a:gdLst/>
              <a:ahLst/>
              <a:cxnLst/>
              <a:rect l="l" t="t" r="r" b="b"/>
              <a:pathLst>
                <a:path w="3947159" h="2499360">
                  <a:moveTo>
                    <a:pt x="3947160" y="0"/>
                  </a:moveTo>
                  <a:lnTo>
                    <a:pt x="0" y="0"/>
                  </a:lnTo>
                  <a:lnTo>
                    <a:pt x="0" y="2499360"/>
                  </a:lnTo>
                  <a:lnTo>
                    <a:pt x="3947160" y="2499360"/>
                  </a:lnTo>
                  <a:lnTo>
                    <a:pt x="3947160" y="0"/>
                  </a:lnTo>
                  <a:close/>
                </a:path>
              </a:pathLst>
            </a:custGeom>
            <a:solidFill>
              <a:srgbClr val="F1F1F1"/>
            </a:solidFill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pic>
          <p:nvPicPr>
            <p:cNvPr id="6" name="object 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870449" y="1553921"/>
              <a:ext cx="3596767" cy="183184"/>
            </a:xfrm>
            <a:prstGeom prst="rect">
              <a:avLst/>
            </a:prstGeom>
          </p:spPr>
        </p:pic>
        <p:pic>
          <p:nvPicPr>
            <p:cNvPr id="7" name="object 7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5671692" y="2477770"/>
              <a:ext cx="785876" cy="182880"/>
            </a:xfrm>
            <a:prstGeom prst="rect">
              <a:avLst/>
            </a:prstGeom>
          </p:spPr>
        </p:pic>
        <p:pic>
          <p:nvPicPr>
            <p:cNvPr id="8" name="object 8"/>
            <p:cNvPicPr/>
            <p:nvPr/>
          </p:nvPicPr>
          <p:blipFill>
            <a:blip r:embed="rId9" cstate="print"/>
            <a:stretch>
              <a:fillRect/>
            </a:stretch>
          </p:blipFill>
          <p:spPr>
            <a:xfrm>
              <a:off x="6397116" y="2477770"/>
              <a:ext cx="868184" cy="182880"/>
            </a:xfrm>
            <a:prstGeom prst="rect">
              <a:avLst/>
            </a:prstGeom>
          </p:spPr>
        </p:pic>
        <p:pic>
          <p:nvPicPr>
            <p:cNvPr id="9" name="object 9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7226553" y="2477770"/>
              <a:ext cx="1395349" cy="182880"/>
            </a:xfrm>
            <a:prstGeom prst="rect">
              <a:avLst/>
            </a:prstGeom>
          </p:spPr>
        </p:pic>
        <p:pic>
          <p:nvPicPr>
            <p:cNvPr id="10" name="object 10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5671692" y="2660650"/>
              <a:ext cx="1796034" cy="182880"/>
            </a:xfrm>
            <a:prstGeom prst="rect">
              <a:avLst/>
            </a:prstGeom>
          </p:spPr>
        </p:pic>
        <p:sp>
          <p:nvSpPr>
            <p:cNvPr id="11" name="object 11"/>
            <p:cNvSpPr/>
            <p:nvPr/>
          </p:nvSpPr>
          <p:spPr>
            <a:xfrm>
              <a:off x="5088610" y="2528265"/>
              <a:ext cx="361315" cy="271145"/>
            </a:xfrm>
            <a:custGeom>
              <a:avLst/>
              <a:gdLst/>
              <a:ahLst/>
              <a:cxnLst/>
              <a:rect l="l" t="t" r="r" b="b"/>
              <a:pathLst>
                <a:path w="361314" h="271144">
                  <a:moveTo>
                    <a:pt x="58648" y="111544"/>
                  </a:moveTo>
                  <a:lnTo>
                    <a:pt x="52070" y="107530"/>
                  </a:lnTo>
                  <a:lnTo>
                    <a:pt x="25755" y="150698"/>
                  </a:lnTo>
                  <a:lnTo>
                    <a:pt x="5511" y="129971"/>
                  </a:lnTo>
                  <a:lnTo>
                    <a:pt x="0" y="135356"/>
                  </a:lnTo>
                  <a:lnTo>
                    <a:pt x="27165" y="163195"/>
                  </a:lnTo>
                  <a:lnTo>
                    <a:pt x="32194" y="154940"/>
                  </a:lnTo>
                  <a:lnTo>
                    <a:pt x="58648" y="111544"/>
                  </a:lnTo>
                  <a:close/>
                </a:path>
                <a:path w="361314" h="271144">
                  <a:moveTo>
                    <a:pt x="58648" y="4013"/>
                  </a:moveTo>
                  <a:lnTo>
                    <a:pt x="52070" y="0"/>
                  </a:lnTo>
                  <a:lnTo>
                    <a:pt x="25755" y="43167"/>
                  </a:lnTo>
                  <a:lnTo>
                    <a:pt x="5511" y="22440"/>
                  </a:lnTo>
                  <a:lnTo>
                    <a:pt x="0" y="27825"/>
                  </a:lnTo>
                  <a:lnTo>
                    <a:pt x="27165" y="55664"/>
                  </a:lnTo>
                  <a:lnTo>
                    <a:pt x="32194" y="47409"/>
                  </a:lnTo>
                  <a:lnTo>
                    <a:pt x="58648" y="4013"/>
                  </a:lnTo>
                  <a:close/>
                </a:path>
                <a:path w="361314" h="271144">
                  <a:moveTo>
                    <a:pt x="58661" y="218478"/>
                  </a:moveTo>
                  <a:lnTo>
                    <a:pt x="52057" y="214503"/>
                  </a:lnTo>
                  <a:lnTo>
                    <a:pt x="25730" y="258216"/>
                  </a:lnTo>
                  <a:lnTo>
                    <a:pt x="5511" y="237502"/>
                  </a:lnTo>
                  <a:lnTo>
                    <a:pt x="0" y="242887"/>
                  </a:lnTo>
                  <a:lnTo>
                    <a:pt x="27178" y="270738"/>
                  </a:lnTo>
                  <a:lnTo>
                    <a:pt x="32156" y="262483"/>
                  </a:lnTo>
                  <a:lnTo>
                    <a:pt x="58661" y="218478"/>
                  </a:lnTo>
                  <a:close/>
                </a:path>
                <a:path w="361314" h="271144">
                  <a:moveTo>
                    <a:pt x="361200" y="236347"/>
                  </a:moveTo>
                  <a:lnTo>
                    <a:pt x="122428" y="236347"/>
                  </a:lnTo>
                  <a:lnTo>
                    <a:pt x="122428" y="244055"/>
                  </a:lnTo>
                  <a:lnTo>
                    <a:pt x="361200" y="244055"/>
                  </a:lnTo>
                  <a:lnTo>
                    <a:pt x="361200" y="236347"/>
                  </a:lnTo>
                  <a:close/>
                </a:path>
                <a:path w="361314" h="271144">
                  <a:moveTo>
                    <a:pt x="361200" y="128816"/>
                  </a:moveTo>
                  <a:lnTo>
                    <a:pt x="122428" y="128816"/>
                  </a:lnTo>
                  <a:lnTo>
                    <a:pt x="122428" y="136525"/>
                  </a:lnTo>
                  <a:lnTo>
                    <a:pt x="361200" y="136525"/>
                  </a:lnTo>
                  <a:lnTo>
                    <a:pt x="361200" y="128816"/>
                  </a:lnTo>
                  <a:close/>
                </a:path>
                <a:path w="361314" h="271144">
                  <a:moveTo>
                    <a:pt x="361200" y="21272"/>
                  </a:moveTo>
                  <a:lnTo>
                    <a:pt x="122428" y="21272"/>
                  </a:lnTo>
                  <a:lnTo>
                    <a:pt x="122428" y="28981"/>
                  </a:lnTo>
                  <a:lnTo>
                    <a:pt x="361200" y="28981"/>
                  </a:lnTo>
                  <a:lnTo>
                    <a:pt x="361200" y="21272"/>
                  </a:lnTo>
                  <a:close/>
                </a:path>
              </a:pathLst>
            </a:custGeom>
            <a:solidFill>
              <a:srgbClr val="337199"/>
            </a:solidFill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pic>
          <p:nvPicPr>
            <p:cNvPr id="12" name="object 12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671692" y="1940306"/>
              <a:ext cx="332841" cy="182880"/>
            </a:xfrm>
            <a:prstGeom prst="rect">
              <a:avLst/>
            </a:prstGeom>
          </p:spPr>
        </p:pic>
        <p:pic>
          <p:nvPicPr>
            <p:cNvPr id="13" name="object 13"/>
            <p:cNvPicPr/>
            <p:nvPr/>
          </p:nvPicPr>
          <p:blipFill>
            <a:blip r:embed="rId13" cstate="print"/>
            <a:stretch>
              <a:fillRect/>
            </a:stretch>
          </p:blipFill>
          <p:spPr>
            <a:xfrm>
              <a:off x="5949060" y="1940306"/>
              <a:ext cx="1722627" cy="182880"/>
            </a:xfrm>
            <a:prstGeom prst="rect">
              <a:avLst/>
            </a:prstGeom>
          </p:spPr>
        </p:pic>
        <p:pic>
          <p:nvPicPr>
            <p:cNvPr id="14" name="object 14"/>
            <p:cNvPicPr/>
            <p:nvPr/>
          </p:nvPicPr>
          <p:blipFill>
            <a:blip r:embed="rId14" cstate="print"/>
            <a:stretch>
              <a:fillRect/>
            </a:stretch>
          </p:blipFill>
          <p:spPr>
            <a:xfrm>
              <a:off x="7596885" y="1940306"/>
              <a:ext cx="567804" cy="182880"/>
            </a:xfrm>
            <a:prstGeom prst="rect">
              <a:avLst/>
            </a:prstGeom>
          </p:spPr>
        </p:pic>
        <p:pic>
          <p:nvPicPr>
            <p:cNvPr id="15" name="object 15"/>
            <p:cNvPicPr/>
            <p:nvPr/>
          </p:nvPicPr>
          <p:blipFill>
            <a:blip r:embed="rId15" cstate="print"/>
            <a:stretch>
              <a:fillRect/>
            </a:stretch>
          </p:blipFill>
          <p:spPr>
            <a:xfrm>
              <a:off x="5671692" y="2122881"/>
              <a:ext cx="798017" cy="183184"/>
            </a:xfrm>
            <a:prstGeom prst="rect">
              <a:avLst/>
            </a:prstGeom>
          </p:spPr>
        </p:pic>
        <p:pic>
          <p:nvPicPr>
            <p:cNvPr id="16" name="object 16"/>
            <p:cNvPicPr/>
            <p:nvPr/>
          </p:nvPicPr>
          <p:blipFill>
            <a:blip r:embed="rId16" cstate="print"/>
            <a:stretch>
              <a:fillRect/>
            </a:stretch>
          </p:blipFill>
          <p:spPr>
            <a:xfrm>
              <a:off x="5198489" y="2018263"/>
              <a:ext cx="144208" cy="100676"/>
            </a:xfrm>
            <a:prstGeom prst="rect">
              <a:avLst/>
            </a:prstGeom>
          </p:spPr>
        </p:pic>
        <p:sp>
          <p:nvSpPr>
            <p:cNvPr id="17" name="object 17"/>
            <p:cNvSpPr/>
            <p:nvPr/>
          </p:nvSpPr>
          <p:spPr>
            <a:xfrm>
              <a:off x="5090401" y="1941982"/>
              <a:ext cx="360680" cy="366395"/>
            </a:xfrm>
            <a:custGeom>
              <a:avLst/>
              <a:gdLst/>
              <a:ahLst/>
              <a:cxnLst/>
              <a:rect l="l" t="t" r="r" b="b"/>
              <a:pathLst>
                <a:path w="360679" h="366394">
                  <a:moveTo>
                    <a:pt x="360375" y="0"/>
                  </a:moveTo>
                  <a:lnTo>
                    <a:pt x="352666" y="0"/>
                  </a:lnTo>
                  <a:lnTo>
                    <a:pt x="352666" y="7708"/>
                  </a:lnTo>
                  <a:lnTo>
                    <a:pt x="352666" y="235305"/>
                  </a:lnTo>
                  <a:lnTo>
                    <a:pt x="202920" y="235305"/>
                  </a:lnTo>
                  <a:lnTo>
                    <a:pt x="202920" y="243014"/>
                  </a:lnTo>
                  <a:lnTo>
                    <a:pt x="202920" y="358444"/>
                  </a:lnTo>
                  <a:lnTo>
                    <a:pt x="157441" y="358444"/>
                  </a:lnTo>
                  <a:lnTo>
                    <a:pt x="157441" y="243014"/>
                  </a:lnTo>
                  <a:lnTo>
                    <a:pt x="202920" y="243014"/>
                  </a:lnTo>
                  <a:lnTo>
                    <a:pt x="202920" y="235305"/>
                  </a:lnTo>
                  <a:lnTo>
                    <a:pt x="7708" y="235305"/>
                  </a:lnTo>
                  <a:lnTo>
                    <a:pt x="7708" y="7708"/>
                  </a:lnTo>
                  <a:lnTo>
                    <a:pt x="352666" y="7708"/>
                  </a:lnTo>
                  <a:lnTo>
                    <a:pt x="352666" y="0"/>
                  </a:lnTo>
                  <a:lnTo>
                    <a:pt x="0" y="0"/>
                  </a:lnTo>
                  <a:lnTo>
                    <a:pt x="0" y="243014"/>
                  </a:lnTo>
                  <a:lnTo>
                    <a:pt x="149733" y="243014"/>
                  </a:lnTo>
                  <a:lnTo>
                    <a:pt x="149733" y="366153"/>
                  </a:lnTo>
                  <a:lnTo>
                    <a:pt x="210629" y="366153"/>
                  </a:lnTo>
                  <a:lnTo>
                    <a:pt x="210629" y="362292"/>
                  </a:lnTo>
                  <a:lnTo>
                    <a:pt x="210629" y="358444"/>
                  </a:lnTo>
                  <a:lnTo>
                    <a:pt x="210629" y="243014"/>
                  </a:lnTo>
                  <a:lnTo>
                    <a:pt x="360375" y="243014"/>
                  </a:lnTo>
                  <a:lnTo>
                    <a:pt x="360375" y="239153"/>
                  </a:lnTo>
                  <a:lnTo>
                    <a:pt x="360375" y="235305"/>
                  </a:lnTo>
                  <a:lnTo>
                    <a:pt x="360375" y="7708"/>
                  </a:lnTo>
                  <a:lnTo>
                    <a:pt x="360375" y="3860"/>
                  </a:lnTo>
                  <a:lnTo>
                    <a:pt x="360375" y="0"/>
                  </a:lnTo>
                  <a:close/>
                </a:path>
              </a:pathLst>
            </a:custGeom>
            <a:solidFill>
              <a:srgbClr val="337199"/>
            </a:solidFill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pic>
          <p:nvPicPr>
            <p:cNvPr id="18" name="object 18"/>
            <p:cNvPicPr/>
            <p:nvPr/>
          </p:nvPicPr>
          <p:blipFill>
            <a:blip r:embed="rId17" cstate="print"/>
            <a:stretch>
              <a:fillRect/>
            </a:stretch>
          </p:blipFill>
          <p:spPr>
            <a:xfrm>
              <a:off x="5671692" y="3015107"/>
              <a:ext cx="1273429" cy="182880"/>
            </a:xfrm>
            <a:prstGeom prst="rect">
              <a:avLst/>
            </a:prstGeom>
          </p:spPr>
        </p:pic>
        <p:pic>
          <p:nvPicPr>
            <p:cNvPr id="19" name="object 19"/>
            <p:cNvPicPr/>
            <p:nvPr/>
          </p:nvPicPr>
          <p:blipFill>
            <a:blip r:embed="rId18" cstate="print"/>
            <a:stretch>
              <a:fillRect/>
            </a:stretch>
          </p:blipFill>
          <p:spPr>
            <a:xfrm>
              <a:off x="6874509" y="3015107"/>
              <a:ext cx="1447901" cy="182880"/>
            </a:xfrm>
            <a:prstGeom prst="rect">
              <a:avLst/>
            </a:prstGeom>
          </p:spPr>
        </p:pic>
        <p:pic>
          <p:nvPicPr>
            <p:cNvPr id="20" name="object 20"/>
            <p:cNvPicPr/>
            <p:nvPr/>
          </p:nvPicPr>
          <p:blipFill>
            <a:blip r:embed="rId19" cstate="print"/>
            <a:stretch>
              <a:fillRect/>
            </a:stretch>
          </p:blipFill>
          <p:spPr>
            <a:xfrm>
              <a:off x="5671692" y="3197986"/>
              <a:ext cx="800950" cy="182880"/>
            </a:xfrm>
            <a:prstGeom prst="rect">
              <a:avLst/>
            </a:prstGeom>
          </p:spPr>
        </p:pic>
        <p:pic>
          <p:nvPicPr>
            <p:cNvPr id="21" name="object 21"/>
            <p:cNvPicPr/>
            <p:nvPr/>
          </p:nvPicPr>
          <p:blipFill>
            <a:blip r:embed="rId20" cstate="print"/>
            <a:stretch>
              <a:fillRect/>
            </a:stretch>
          </p:blipFill>
          <p:spPr>
            <a:xfrm>
              <a:off x="6429120" y="3197986"/>
              <a:ext cx="605561" cy="182880"/>
            </a:xfrm>
            <a:prstGeom prst="rect">
              <a:avLst/>
            </a:prstGeom>
          </p:spPr>
        </p:pic>
        <p:pic>
          <p:nvPicPr>
            <p:cNvPr id="22" name="object 22"/>
            <p:cNvPicPr/>
            <p:nvPr/>
          </p:nvPicPr>
          <p:blipFill>
            <a:blip r:embed="rId21" cstate="print"/>
            <a:stretch>
              <a:fillRect/>
            </a:stretch>
          </p:blipFill>
          <p:spPr>
            <a:xfrm>
              <a:off x="6967473" y="3197986"/>
              <a:ext cx="1332865" cy="182880"/>
            </a:xfrm>
            <a:prstGeom prst="rect">
              <a:avLst/>
            </a:prstGeom>
          </p:spPr>
        </p:pic>
        <p:pic>
          <p:nvPicPr>
            <p:cNvPr id="23" name="object 23"/>
            <p:cNvPicPr/>
            <p:nvPr/>
          </p:nvPicPr>
          <p:blipFill>
            <a:blip r:embed="rId22" cstate="print"/>
            <a:stretch>
              <a:fillRect/>
            </a:stretch>
          </p:blipFill>
          <p:spPr>
            <a:xfrm>
              <a:off x="5671692" y="3380867"/>
              <a:ext cx="2978912" cy="182879"/>
            </a:xfrm>
            <a:prstGeom prst="rect">
              <a:avLst/>
            </a:prstGeom>
          </p:spPr>
        </p:pic>
        <p:pic>
          <p:nvPicPr>
            <p:cNvPr id="24" name="object 24"/>
            <p:cNvPicPr/>
            <p:nvPr/>
          </p:nvPicPr>
          <p:blipFill>
            <a:blip r:embed="rId23" cstate="print"/>
            <a:stretch>
              <a:fillRect/>
            </a:stretch>
          </p:blipFill>
          <p:spPr>
            <a:xfrm>
              <a:off x="5182629" y="3019092"/>
              <a:ext cx="91818" cy="92216"/>
            </a:xfrm>
            <a:prstGeom prst="rect">
              <a:avLst/>
            </a:prstGeom>
          </p:spPr>
        </p:pic>
        <p:sp>
          <p:nvSpPr>
            <p:cNvPr id="25" name="object 25"/>
            <p:cNvSpPr/>
            <p:nvPr/>
          </p:nvSpPr>
          <p:spPr>
            <a:xfrm>
              <a:off x="5181460" y="3107461"/>
              <a:ext cx="179070" cy="275590"/>
            </a:xfrm>
            <a:custGeom>
              <a:avLst/>
              <a:gdLst/>
              <a:ahLst/>
              <a:cxnLst/>
              <a:rect l="l" t="t" r="r" b="b"/>
              <a:pathLst>
                <a:path w="179070" h="275589">
                  <a:moveTo>
                    <a:pt x="7708" y="87185"/>
                  </a:moveTo>
                  <a:lnTo>
                    <a:pt x="7683" y="87376"/>
                  </a:lnTo>
                  <a:lnTo>
                    <a:pt x="7708" y="87185"/>
                  </a:lnTo>
                  <a:close/>
                </a:path>
                <a:path w="179070" h="275589">
                  <a:moveTo>
                    <a:pt x="178612" y="86753"/>
                  </a:moveTo>
                  <a:lnTo>
                    <a:pt x="176872" y="70751"/>
                  </a:lnTo>
                  <a:lnTo>
                    <a:pt x="176745" y="69570"/>
                  </a:lnTo>
                  <a:lnTo>
                    <a:pt x="172631" y="55918"/>
                  </a:lnTo>
                  <a:lnTo>
                    <a:pt x="171843" y="53314"/>
                  </a:lnTo>
                  <a:lnTo>
                    <a:pt x="170929" y="51625"/>
                  </a:lnTo>
                  <a:lnTo>
                    <a:pt x="170929" y="87376"/>
                  </a:lnTo>
                  <a:lnTo>
                    <a:pt x="170916" y="88747"/>
                  </a:lnTo>
                  <a:lnTo>
                    <a:pt x="170916" y="96456"/>
                  </a:lnTo>
                  <a:lnTo>
                    <a:pt x="170916" y="187909"/>
                  </a:lnTo>
                  <a:lnTo>
                    <a:pt x="170891" y="188137"/>
                  </a:lnTo>
                  <a:lnTo>
                    <a:pt x="170865" y="188341"/>
                  </a:lnTo>
                  <a:lnTo>
                    <a:pt x="169164" y="204343"/>
                  </a:lnTo>
                  <a:lnTo>
                    <a:pt x="169049" y="204711"/>
                  </a:lnTo>
                  <a:lnTo>
                    <a:pt x="164693" y="219125"/>
                  </a:lnTo>
                  <a:lnTo>
                    <a:pt x="164465" y="219544"/>
                  </a:lnTo>
                  <a:lnTo>
                    <a:pt x="157124" y="232549"/>
                  </a:lnTo>
                  <a:lnTo>
                    <a:pt x="156959" y="232854"/>
                  </a:lnTo>
                  <a:lnTo>
                    <a:pt x="157124" y="232549"/>
                  </a:lnTo>
                  <a:lnTo>
                    <a:pt x="156870" y="232854"/>
                  </a:lnTo>
                  <a:lnTo>
                    <a:pt x="147459" y="244297"/>
                  </a:lnTo>
                  <a:lnTo>
                    <a:pt x="147104" y="244576"/>
                  </a:lnTo>
                  <a:lnTo>
                    <a:pt x="135737" y="253936"/>
                  </a:lnTo>
                  <a:lnTo>
                    <a:pt x="122339" y="261162"/>
                  </a:lnTo>
                  <a:lnTo>
                    <a:pt x="122694" y="261048"/>
                  </a:lnTo>
                  <a:lnTo>
                    <a:pt x="122313" y="261175"/>
                  </a:lnTo>
                  <a:lnTo>
                    <a:pt x="107505" y="265645"/>
                  </a:lnTo>
                  <a:lnTo>
                    <a:pt x="91325" y="267411"/>
                  </a:lnTo>
                  <a:lnTo>
                    <a:pt x="91452" y="267385"/>
                  </a:lnTo>
                  <a:lnTo>
                    <a:pt x="87160" y="267385"/>
                  </a:lnTo>
                  <a:lnTo>
                    <a:pt x="55956" y="261162"/>
                  </a:lnTo>
                  <a:lnTo>
                    <a:pt x="56337" y="261378"/>
                  </a:lnTo>
                  <a:lnTo>
                    <a:pt x="55918" y="261162"/>
                  </a:lnTo>
                  <a:lnTo>
                    <a:pt x="55740" y="261048"/>
                  </a:lnTo>
                  <a:lnTo>
                    <a:pt x="42913" y="253809"/>
                  </a:lnTo>
                  <a:lnTo>
                    <a:pt x="42545" y="253593"/>
                  </a:lnTo>
                  <a:lnTo>
                    <a:pt x="42329" y="253428"/>
                  </a:lnTo>
                  <a:lnTo>
                    <a:pt x="31153" y="244221"/>
                  </a:lnTo>
                  <a:lnTo>
                    <a:pt x="30797" y="243928"/>
                  </a:lnTo>
                  <a:lnTo>
                    <a:pt x="30607" y="243700"/>
                  </a:lnTo>
                  <a:lnTo>
                    <a:pt x="21437" y="232562"/>
                  </a:lnTo>
                  <a:lnTo>
                    <a:pt x="21145" y="232206"/>
                  </a:lnTo>
                  <a:lnTo>
                    <a:pt x="21005" y="231940"/>
                  </a:lnTo>
                  <a:lnTo>
                    <a:pt x="14135" y="219176"/>
                  </a:lnTo>
                  <a:lnTo>
                    <a:pt x="13931" y="218821"/>
                  </a:lnTo>
                  <a:lnTo>
                    <a:pt x="14046" y="219176"/>
                  </a:lnTo>
                  <a:lnTo>
                    <a:pt x="13919" y="218808"/>
                  </a:lnTo>
                  <a:lnTo>
                    <a:pt x="13830" y="218465"/>
                  </a:lnTo>
                  <a:lnTo>
                    <a:pt x="9563" y="204343"/>
                  </a:lnTo>
                  <a:lnTo>
                    <a:pt x="9448" y="203974"/>
                  </a:lnTo>
                  <a:lnTo>
                    <a:pt x="9410" y="203644"/>
                  </a:lnTo>
                  <a:lnTo>
                    <a:pt x="7747" y="188341"/>
                  </a:lnTo>
                  <a:lnTo>
                    <a:pt x="7708" y="188137"/>
                  </a:lnTo>
                  <a:lnTo>
                    <a:pt x="7696" y="187947"/>
                  </a:lnTo>
                  <a:lnTo>
                    <a:pt x="7708" y="187718"/>
                  </a:lnTo>
                  <a:lnTo>
                    <a:pt x="7683" y="96456"/>
                  </a:lnTo>
                  <a:lnTo>
                    <a:pt x="170916" y="96456"/>
                  </a:lnTo>
                  <a:lnTo>
                    <a:pt x="170916" y="88747"/>
                  </a:lnTo>
                  <a:lnTo>
                    <a:pt x="92976" y="88747"/>
                  </a:lnTo>
                  <a:lnTo>
                    <a:pt x="92976" y="7886"/>
                  </a:lnTo>
                  <a:lnTo>
                    <a:pt x="107873" y="9461"/>
                  </a:lnTo>
                  <a:lnTo>
                    <a:pt x="122656" y="13931"/>
                  </a:lnTo>
                  <a:lnTo>
                    <a:pt x="123063" y="14046"/>
                  </a:lnTo>
                  <a:lnTo>
                    <a:pt x="122656" y="13931"/>
                  </a:lnTo>
                  <a:lnTo>
                    <a:pt x="136067" y="21488"/>
                  </a:lnTo>
                  <a:lnTo>
                    <a:pt x="136283" y="21666"/>
                  </a:lnTo>
                  <a:lnTo>
                    <a:pt x="147815" y="31165"/>
                  </a:lnTo>
                  <a:lnTo>
                    <a:pt x="148005" y="31407"/>
                  </a:lnTo>
                  <a:lnTo>
                    <a:pt x="157467" y="42887"/>
                  </a:lnTo>
                  <a:lnTo>
                    <a:pt x="157619" y="43167"/>
                  </a:lnTo>
                  <a:lnTo>
                    <a:pt x="164680" y="56273"/>
                  </a:lnTo>
                  <a:lnTo>
                    <a:pt x="164782" y="56629"/>
                  </a:lnTo>
                  <a:lnTo>
                    <a:pt x="169164" y="71132"/>
                  </a:lnTo>
                  <a:lnTo>
                    <a:pt x="169125" y="70751"/>
                  </a:lnTo>
                  <a:lnTo>
                    <a:pt x="169164" y="71094"/>
                  </a:lnTo>
                  <a:lnTo>
                    <a:pt x="169202" y="71462"/>
                  </a:lnTo>
                  <a:lnTo>
                    <a:pt x="170916" y="87147"/>
                  </a:lnTo>
                  <a:lnTo>
                    <a:pt x="170916" y="87376"/>
                  </a:lnTo>
                  <a:lnTo>
                    <a:pt x="170929" y="51625"/>
                  </a:lnTo>
                  <a:lnTo>
                    <a:pt x="166027" y="42532"/>
                  </a:lnTo>
                  <a:lnTo>
                    <a:pt x="163880" y="38557"/>
                  </a:lnTo>
                  <a:lnTo>
                    <a:pt x="157568" y="30873"/>
                  </a:lnTo>
                  <a:lnTo>
                    <a:pt x="153289" y="25692"/>
                  </a:lnTo>
                  <a:lnTo>
                    <a:pt x="147942" y="21285"/>
                  </a:lnTo>
                  <a:lnTo>
                    <a:pt x="140462" y="15113"/>
                  </a:lnTo>
                  <a:lnTo>
                    <a:pt x="138557" y="14046"/>
                  </a:lnTo>
                  <a:lnTo>
                    <a:pt x="137972" y="13716"/>
                  </a:lnTo>
                  <a:lnTo>
                    <a:pt x="130492" y="9499"/>
                  </a:lnTo>
                  <a:lnTo>
                    <a:pt x="130238" y="9347"/>
                  </a:lnTo>
                  <a:lnTo>
                    <a:pt x="127317" y="7708"/>
                  </a:lnTo>
                  <a:lnTo>
                    <a:pt x="125666" y="6781"/>
                  </a:lnTo>
                  <a:lnTo>
                    <a:pt x="109410" y="1866"/>
                  </a:lnTo>
                  <a:lnTo>
                    <a:pt x="91859" y="0"/>
                  </a:lnTo>
                  <a:lnTo>
                    <a:pt x="86753" y="0"/>
                  </a:lnTo>
                  <a:lnTo>
                    <a:pt x="85267" y="165"/>
                  </a:lnTo>
                  <a:lnTo>
                    <a:pt x="85267" y="7924"/>
                  </a:lnTo>
                  <a:lnTo>
                    <a:pt x="85267" y="88747"/>
                  </a:lnTo>
                  <a:lnTo>
                    <a:pt x="7683" y="88747"/>
                  </a:lnTo>
                  <a:lnTo>
                    <a:pt x="7683" y="87376"/>
                  </a:lnTo>
                  <a:lnTo>
                    <a:pt x="7708" y="87147"/>
                  </a:lnTo>
                  <a:lnTo>
                    <a:pt x="7734" y="86956"/>
                  </a:lnTo>
                  <a:lnTo>
                    <a:pt x="9372" y="71462"/>
                  </a:lnTo>
                  <a:lnTo>
                    <a:pt x="9347" y="71094"/>
                  </a:lnTo>
                  <a:lnTo>
                    <a:pt x="9448" y="70739"/>
                  </a:lnTo>
                  <a:lnTo>
                    <a:pt x="9563" y="70383"/>
                  </a:lnTo>
                  <a:lnTo>
                    <a:pt x="13716" y="56629"/>
                  </a:lnTo>
                  <a:lnTo>
                    <a:pt x="13716" y="56337"/>
                  </a:lnTo>
                  <a:lnTo>
                    <a:pt x="13919" y="55956"/>
                  </a:lnTo>
                  <a:lnTo>
                    <a:pt x="14147" y="55562"/>
                  </a:lnTo>
                  <a:lnTo>
                    <a:pt x="21297" y="42887"/>
                  </a:lnTo>
                  <a:lnTo>
                    <a:pt x="21475" y="42557"/>
                  </a:lnTo>
                  <a:lnTo>
                    <a:pt x="21742" y="42240"/>
                  </a:lnTo>
                  <a:lnTo>
                    <a:pt x="30861" y="31165"/>
                  </a:lnTo>
                  <a:lnTo>
                    <a:pt x="30873" y="31038"/>
                  </a:lnTo>
                  <a:lnTo>
                    <a:pt x="31165" y="30797"/>
                  </a:lnTo>
                  <a:lnTo>
                    <a:pt x="31508" y="30518"/>
                  </a:lnTo>
                  <a:lnTo>
                    <a:pt x="42659" y="21336"/>
                  </a:lnTo>
                  <a:lnTo>
                    <a:pt x="42887" y="21145"/>
                  </a:lnTo>
                  <a:lnTo>
                    <a:pt x="43307" y="20929"/>
                  </a:lnTo>
                  <a:lnTo>
                    <a:pt x="56070" y="14046"/>
                  </a:lnTo>
                  <a:lnTo>
                    <a:pt x="56273" y="13944"/>
                  </a:lnTo>
                  <a:lnTo>
                    <a:pt x="56908" y="13754"/>
                  </a:lnTo>
                  <a:lnTo>
                    <a:pt x="70993" y="9486"/>
                  </a:lnTo>
                  <a:lnTo>
                    <a:pt x="71132" y="9448"/>
                  </a:lnTo>
                  <a:lnTo>
                    <a:pt x="72034" y="9347"/>
                  </a:lnTo>
                  <a:lnTo>
                    <a:pt x="85267" y="7924"/>
                  </a:lnTo>
                  <a:lnTo>
                    <a:pt x="85267" y="165"/>
                  </a:lnTo>
                  <a:lnTo>
                    <a:pt x="38544" y="14732"/>
                  </a:lnTo>
                  <a:lnTo>
                    <a:pt x="6794" y="52920"/>
                  </a:lnTo>
                  <a:lnTo>
                    <a:pt x="0" y="86753"/>
                  </a:lnTo>
                  <a:lnTo>
                    <a:pt x="0" y="188341"/>
                  </a:lnTo>
                  <a:lnTo>
                    <a:pt x="14732" y="236537"/>
                  </a:lnTo>
                  <a:lnTo>
                    <a:pt x="52959" y="268312"/>
                  </a:lnTo>
                  <a:lnTo>
                    <a:pt x="86753" y="275094"/>
                  </a:lnTo>
                  <a:lnTo>
                    <a:pt x="91859" y="275094"/>
                  </a:lnTo>
                  <a:lnTo>
                    <a:pt x="109054" y="273227"/>
                  </a:lnTo>
                  <a:lnTo>
                    <a:pt x="125323" y="268300"/>
                  </a:lnTo>
                  <a:lnTo>
                    <a:pt x="126974" y="267411"/>
                  </a:lnTo>
                  <a:lnTo>
                    <a:pt x="130073" y="265747"/>
                  </a:lnTo>
                  <a:lnTo>
                    <a:pt x="130340" y="265607"/>
                  </a:lnTo>
                  <a:lnTo>
                    <a:pt x="107861" y="265607"/>
                  </a:lnTo>
                  <a:lnTo>
                    <a:pt x="130340" y="265595"/>
                  </a:lnTo>
                  <a:lnTo>
                    <a:pt x="138252" y="261340"/>
                  </a:lnTo>
                  <a:lnTo>
                    <a:pt x="138798" y="261048"/>
                  </a:lnTo>
                  <a:lnTo>
                    <a:pt x="140068" y="260362"/>
                  </a:lnTo>
                  <a:lnTo>
                    <a:pt x="147586" y="254177"/>
                  </a:lnTo>
                  <a:lnTo>
                    <a:pt x="148094" y="253758"/>
                  </a:lnTo>
                  <a:lnTo>
                    <a:pt x="152933" y="249770"/>
                  </a:lnTo>
                  <a:lnTo>
                    <a:pt x="157632" y="244055"/>
                  </a:lnTo>
                  <a:lnTo>
                    <a:pt x="163499" y="236931"/>
                  </a:lnTo>
                  <a:lnTo>
                    <a:pt x="166116" y="232295"/>
                  </a:lnTo>
                  <a:lnTo>
                    <a:pt x="171831" y="222173"/>
                  </a:lnTo>
                  <a:lnTo>
                    <a:pt x="172859" y="218757"/>
                  </a:lnTo>
                  <a:lnTo>
                    <a:pt x="176758" y="205879"/>
                  </a:lnTo>
                  <a:lnTo>
                    <a:pt x="176949" y="204000"/>
                  </a:lnTo>
                  <a:lnTo>
                    <a:pt x="178612" y="188341"/>
                  </a:lnTo>
                  <a:lnTo>
                    <a:pt x="178612" y="187718"/>
                  </a:lnTo>
                  <a:lnTo>
                    <a:pt x="178612" y="86956"/>
                  </a:lnTo>
                  <a:lnTo>
                    <a:pt x="178612" y="86753"/>
                  </a:lnTo>
                  <a:close/>
                </a:path>
              </a:pathLst>
            </a:custGeom>
            <a:solidFill>
              <a:srgbClr val="337199"/>
            </a:solidFill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pic>
          <p:nvPicPr>
            <p:cNvPr id="26" name="object 26"/>
            <p:cNvPicPr/>
            <p:nvPr/>
          </p:nvPicPr>
          <p:blipFill>
            <a:blip r:embed="rId24" cstate="print"/>
            <a:stretch>
              <a:fillRect/>
            </a:stretch>
          </p:blipFill>
          <p:spPr>
            <a:xfrm>
              <a:off x="5671692" y="3736238"/>
              <a:ext cx="920724" cy="182880"/>
            </a:xfrm>
            <a:prstGeom prst="rect">
              <a:avLst/>
            </a:prstGeom>
          </p:spPr>
        </p:pic>
        <p:pic>
          <p:nvPicPr>
            <p:cNvPr id="27" name="object 27"/>
            <p:cNvPicPr/>
            <p:nvPr/>
          </p:nvPicPr>
          <p:blipFill>
            <a:blip r:embed="rId25" cstate="print"/>
            <a:stretch>
              <a:fillRect/>
            </a:stretch>
          </p:blipFill>
          <p:spPr>
            <a:xfrm>
              <a:off x="6526656" y="3736238"/>
              <a:ext cx="2014474" cy="182880"/>
            </a:xfrm>
            <a:prstGeom prst="rect">
              <a:avLst/>
            </a:prstGeom>
          </p:spPr>
        </p:pic>
        <p:pic>
          <p:nvPicPr>
            <p:cNvPr id="28" name="object 28"/>
            <p:cNvPicPr/>
            <p:nvPr/>
          </p:nvPicPr>
          <p:blipFill>
            <a:blip r:embed="rId26" cstate="print"/>
            <a:stretch>
              <a:fillRect/>
            </a:stretch>
          </p:blipFill>
          <p:spPr>
            <a:xfrm>
              <a:off x="5671692" y="3919118"/>
              <a:ext cx="2855722" cy="182880"/>
            </a:xfrm>
            <a:prstGeom prst="rect">
              <a:avLst/>
            </a:prstGeom>
          </p:spPr>
        </p:pic>
        <p:pic>
          <p:nvPicPr>
            <p:cNvPr id="29" name="object 29"/>
            <p:cNvPicPr/>
            <p:nvPr/>
          </p:nvPicPr>
          <p:blipFill>
            <a:blip r:embed="rId27" cstate="print"/>
            <a:stretch>
              <a:fillRect/>
            </a:stretch>
          </p:blipFill>
          <p:spPr>
            <a:xfrm>
              <a:off x="5111108" y="3736494"/>
              <a:ext cx="323924" cy="366907"/>
            </a:xfrm>
            <a:prstGeom prst="rect">
              <a:avLst/>
            </a:prstGeom>
          </p:spPr>
        </p:pic>
      </p:grpSp>
      <p:pic>
        <p:nvPicPr>
          <p:cNvPr id="33" name="object 33"/>
          <p:cNvPicPr/>
          <p:nvPr/>
        </p:nvPicPr>
        <p:blipFill>
          <a:blip r:embed="rId28" cstate="print"/>
          <a:stretch>
            <a:fillRect/>
          </a:stretch>
        </p:blipFill>
        <p:spPr>
          <a:xfrm>
            <a:off x="649833" y="1828462"/>
            <a:ext cx="5044948" cy="243839"/>
          </a:xfrm>
          <a:prstGeom prst="rect">
            <a:avLst/>
          </a:prstGeom>
        </p:spPr>
      </p:pic>
      <p:pic>
        <p:nvPicPr>
          <p:cNvPr id="34" name="object 34"/>
          <p:cNvPicPr/>
          <p:nvPr/>
        </p:nvPicPr>
        <p:blipFill>
          <a:blip r:embed="rId29" cstate="print"/>
          <a:stretch>
            <a:fillRect/>
          </a:stretch>
        </p:blipFill>
        <p:spPr>
          <a:xfrm>
            <a:off x="649833" y="2071895"/>
            <a:ext cx="3150447" cy="244245"/>
          </a:xfrm>
          <a:prstGeom prst="rect">
            <a:avLst/>
          </a:prstGeom>
        </p:spPr>
      </p:pic>
      <p:sp>
        <p:nvSpPr>
          <p:cNvPr id="35" name="object 35"/>
          <p:cNvSpPr/>
          <p:nvPr/>
        </p:nvSpPr>
        <p:spPr>
          <a:xfrm>
            <a:off x="650240" y="2363217"/>
            <a:ext cx="5555827" cy="3332480"/>
          </a:xfrm>
          <a:custGeom>
            <a:avLst/>
            <a:gdLst/>
            <a:ahLst/>
            <a:cxnLst/>
            <a:rect l="l" t="t" r="r" b="b"/>
            <a:pathLst>
              <a:path w="4166870" h="2499360">
                <a:moveTo>
                  <a:pt x="0" y="0"/>
                </a:moveTo>
                <a:lnTo>
                  <a:pt x="4166616" y="0"/>
                </a:lnTo>
                <a:lnTo>
                  <a:pt x="4166616" y="2499360"/>
                </a:lnTo>
              </a:path>
            </a:pathLst>
          </a:custGeom>
          <a:ln w="9143">
            <a:solidFill>
              <a:srgbClr val="337199"/>
            </a:solidFill>
          </a:ln>
        </p:spPr>
        <p:txBody>
          <a:bodyPr wrap="square" lIns="0" tIns="0" rIns="0" bIns="0" rtlCol="0"/>
          <a:lstStyle/>
          <a:p>
            <a:endParaRPr sz="2133" dirty="0"/>
          </a:p>
        </p:txBody>
      </p:sp>
      <p:sp>
        <p:nvSpPr>
          <p:cNvPr id="40" name="Titel 39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1800" spc="-7" dirty="0">
                <a:solidFill>
                  <a:srgbClr val="808080"/>
                </a:solidFill>
                <a:latin typeface="Arial"/>
              </a:rPr>
              <a:t>Umfang der Online-Strecke</a:t>
            </a:r>
            <a:r>
              <a:rPr lang="de-DE" dirty="0">
                <a:latin typeface="+mj-lt"/>
              </a:rPr>
              <a:t/>
            </a:r>
            <a:br>
              <a:rPr lang="de-DE" dirty="0">
                <a:latin typeface="+mj-lt"/>
              </a:rPr>
            </a:br>
            <a:r>
              <a:rPr lang="de-DE" sz="2400" b="1" dirty="0">
                <a:latin typeface="+mj-lt"/>
              </a:rPr>
              <a:t>Erforderliche Nachweise</a:t>
            </a:r>
          </a:p>
        </p:txBody>
      </p:sp>
      <p:grpSp>
        <p:nvGrpSpPr>
          <p:cNvPr id="37" name="Gruppieren 36"/>
          <p:cNvGrpSpPr/>
          <p:nvPr/>
        </p:nvGrpSpPr>
        <p:grpSpPr>
          <a:xfrm>
            <a:off x="650240" y="2511553"/>
            <a:ext cx="5268976" cy="2934208"/>
            <a:chOff x="650240" y="2511553"/>
            <a:chExt cx="5268976" cy="2934208"/>
          </a:xfrm>
        </p:grpSpPr>
        <p:pic>
          <p:nvPicPr>
            <p:cNvPr id="32" name="object 32"/>
            <p:cNvPicPr/>
            <p:nvPr/>
          </p:nvPicPr>
          <p:blipFill>
            <a:blip r:embed="rId30" cstate="print"/>
            <a:stretch>
              <a:fillRect/>
            </a:stretch>
          </p:blipFill>
          <p:spPr>
            <a:xfrm>
              <a:off x="650240" y="2511553"/>
              <a:ext cx="5268976" cy="2934208"/>
            </a:xfrm>
            <a:prstGeom prst="rect">
              <a:avLst/>
            </a:prstGeom>
          </p:spPr>
        </p:pic>
        <p:pic>
          <p:nvPicPr>
            <p:cNvPr id="36" name="Grafik 35"/>
            <p:cNvPicPr>
              <a:picLocks noChangeAspect="1"/>
            </p:cNvPicPr>
            <p:nvPr/>
          </p:nvPicPr>
          <p:blipFill rotWithShape="1">
            <a:blip r:embed="rId31"/>
            <a:srcRect b="38122"/>
            <a:stretch/>
          </p:blipFill>
          <p:spPr>
            <a:xfrm>
              <a:off x="1312644" y="2764159"/>
              <a:ext cx="3963266" cy="2177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519344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" name="Objekt 1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4" name="think-cell Folie" r:id="rId4" imgW="426" imgH="428" progId="TCLayout.ActiveDocument.1">
                  <p:embed/>
                </p:oleObj>
              </mc:Choice>
              <mc:Fallback>
                <p:oleObj name="think-cell Folie" r:id="rId4" imgW="426" imgH="428" progId="TCLayout.ActiveDocument.1">
                  <p:embed/>
                  <p:pic>
                    <p:nvPicPr>
                      <p:cNvPr id="112" name="Objekt 1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/>
          <p:nvPr/>
        </p:nvSpPr>
        <p:spPr>
          <a:xfrm>
            <a:off x="632900" y="548680"/>
            <a:ext cx="10287636" cy="104558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de-DE" sz="1800" b="0" kern="0" spc="-7" dirty="0">
                <a:solidFill>
                  <a:srgbClr val="808080"/>
                </a:solidFill>
                <a:latin typeface="Arial"/>
                <a:ea typeface="+mj-ea"/>
              </a:rPr>
              <a:t>Umfang der Online-Strecke</a:t>
            </a:r>
            <a:endParaRPr lang="de-DE" sz="3200" spc="-7" dirty="0" smtClean="0">
              <a:latin typeface="+mj-lt"/>
              <a:cs typeface="Cambria"/>
            </a:endParaRPr>
          </a:p>
          <a:p>
            <a:pPr marL="16933">
              <a:spcBef>
                <a:spcPts val="133"/>
              </a:spcBef>
            </a:pPr>
            <a:r>
              <a:rPr lang="de-DE" sz="2400" spc="-7" dirty="0" smtClean="0">
                <a:latin typeface="+mj-lt"/>
                <a:cs typeface="Cambria"/>
              </a:rPr>
              <a:t>Effiziente </a:t>
            </a:r>
            <a:r>
              <a:rPr lang="de-DE" sz="2400" spc="-7" dirty="0">
                <a:latin typeface="+mj-lt"/>
                <a:cs typeface="Cambria"/>
              </a:rPr>
              <a:t>Abläufe in der ABH bei der Bearbeitung digitaler Verpflichtungserklärungen</a:t>
            </a:r>
            <a:endParaRPr sz="2400" dirty="0">
              <a:latin typeface="+mj-lt"/>
              <a:cs typeface="Cambria"/>
            </a:endParaRPr>
          </a:p>
        </p:txBody>
      </p:sp>
      <p:grpSp>
        <p:nvGrpSpPr>
          <p:cNvPr id="30" name="object 30"/>
          <p:cNvGrpSpPr/>
          <p:nvPr/>
        </p:nvGrpSpPr>
        <p:grpSpPr>
          <a:xfrm>
            <a:off x="8410787" y="1966977"/>
            <a:ext cx="1668272" cy="3912447"/>
            <a:chOff x="6308089" y="1475232"/>
            <a:chExt cx="1251204" cy="2934335"/>
          </a:xfrm>
        </p:grpSpPr>
        <p:pic>
          <p:nvPicPr>
            <p:cNvPr id="47" name="object 47"/>
            <p:cNvPicPr/>
            <p:nvPr/>
          </p:nvPicPr>
          <p:blipFill>
            <a:blip r:embed="rId6" cstate="print"/>
            <a:stretch>
              <a:fillRect/>
            </a:stretch>
          </p:blipFill>
          <p:spPr>
            <a:xfrm>
              <a:off x="6308089" y="3001010"/>
              <a:ext cx="100584" cy="152400"/>
            </a:xfrm>
            <a:prstGeom prst="rect">
              <a:avLst/>
            </a:prstGeom>
          </p:spPr>
        </p:pic>
        <p:sp>
          <p:nvSpPr>
            <p:cNvPr id="52" name="object 52"/>
            <p:cNvSpPr/>
            <p:nvPr/>
          </p:nvSpPr>
          <p:spPr>
            <a:xfrm>
              <a:off x="7388351" y="1475232"/>
              <a:ext cx="0" cy="2934335"/>
            </a:xfrm>
            <a:custGeom>
              <a:avLst/>
              <a:gdLst/>
              <a:ahLst/>
              <a:cxnLst/>
              <a:rect l="l" t="t" r="r" b="b"/>
              <a:pathLst>
                <a:path h="2934335">
                  <a:moveTo>
                    <a:pt x="0" y="0"/>
                  </a:moveTo>
                  <a:lnTo>
                    <a:pt x="0" y="2934271"/>
                  </a:lnTo>
                </a:path>
              </a:pathLst>
            </a:custGeom>
            <a:ln w="3175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sp>
          <p:nvSpPr>
            <p:cNvPr id="53" name="object 53"/>
            <p:cNvSpPr/>
            <p:nvPr/>
          </p:nvSpPr>
          <p:spPr>
            <a:xfrm>
              <a:off x="7217663" y="1475232"/>
              <a:ext cx="341630" cy="341630"/>
            </a:xfrm>
            <a:custGeom>
              <a:avLst/>
              <a:gdLst/>
              <a:ahLst/>
              <a:cxnLst/>
              <a:rect l="l" t="t" r="r" b="b"/>
              <a:pathLst>
                <a:path w="341629" h="341630">
                  <a:moveTo>
                    <a:pt x="170687" y="0"/>
                  </a:moveTo>
                  <a:lnTo>
                    <a:pt x="125324" y="6099"/>
                  </a:lnTo>
                  <a:lnTo>
                    <a:pt x="84553" y="23311"/>
                  </a:lnTo>
                  <a:lnTo>
                    <a:pt x="50006" y="50006"/>
                  </a:lnTo>
                  <a:lnTo>
                    <a:pt x="23311" y="84553"/>
                  </a:lnTo>
                  <a:lnTo>
                    <a:pt x="6099" y="125324"/>
                  </a:lnTo>
                  <a:lnTo>
                    <a:pt x="0" y="170687"/>
                  </a:lnTo>
                  <a:lnTo>
                    <a:pt x="6099" y="216051"/>
                  </a:lnTo>
                  <a:lnTo>
                    <a:pt x="23311" y="256822"/>
                  </a:lnTo>
                  <a:lnTo>
                    <a:pt x="50006" y="291369"/>
                  </a:lnTo>
                  <a:lnTo>
                    <a:pt x="84553" y="318064"/>
                  </a:lnTo>
                  <a:lnTo>
                    <a:pt x="125324" y="335276"/>
                  </a:lnTo>
                  <a:lnTo>
                    <a:pt x="170687" y="341375"/>
                  </a:lnTo>
                  <a:lnTo>
                    <a:pt x="216051" y="335276"/>
                  </a:lnTo>
                  <a:lnTo>
                    <a:pt x="256822" y="318064"/>
                  </a:lnTo>
                  <a:lnTo>
                    <a:pt x="291369" y="291369"/>
                  </a:lnTo>
                  <a:lnTo>
                    <a:pt x="318064" y="256822"/>
                  </a:lnTo>
                  <a:lnTo>
                    <a:pt x="335276" y="216051"/>
                  </a:lnTo>
                  <a:lnTo>
                    <a:pt x="341375" y="170687"/>
                  </a:lnTo>
                  <a:lnTo>
                    <a:pt x="335276" y="125324"/>
                  </a:lnTo>
                  <a:lnTo>
                    <a:pt x="318064" y="84553"/>
                  </a:lnTo>
                  <a:lnTo>
                    <a:pt x="291369" y="50006"/>
                  </a:lnTo>
                  <a:lnTo>
                    <a:pt x="256822" y="23311"/>
                  </a:lnTo>
                  <a:lnTo>
                    <a:pt x="216051" y="6099"/>
                  </a:lnTo>
                  <a:lnTo>
                    <a:pt x="17068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sp>
          <p:nvSpPr>
            <p:cNvPr id="54" name="object 54"/>
            <p:cNvSpPr/>
            <p:nvPr/>
          </p:nvSpPr>
          <p:spPr>
            <a:xfrm>
              <a:off x="7217663" y="1475232"/>
              <a:ext cx="341630" cy="341630"/>
            </a:xfrm>
            <a:custGeom>
              <a:avLst/>
              <a:gdLst/>
              <a:ahLst/>
              <a:cxnLst/>
              <a:rect l="l" t="t" r="r" b="b"/>
              <a:pathLst>
                <a:path w="341629" h="341630">
                  <a:moveTo>
                    <a:pt x="0" y="170687"/>
                  </a:moveTo>
                  <a:lnTo>
                    <a:pt x="6099" y="125324"/>
                  </a:lnTo>
                  <a:lnTo>
                    <a:pt x="23311" y="84553"/>
                  </a:lnTo>
                  <a:lnTo>
                    <a:pt x="50006" y="50006"/>
                  </a:lnTo>
                  <a:lnTo>
                    <a:pt x="84553" y="23311"/>
                  </a:lnTo>
                  <a:lnTo>
                    <a:pt x="125324" y="6099"/>
                  </a:lnTo>
                  <a:lnTo>
                    <a:pt x="170687" y="0"/>
                  </a:lnTo>
                  <a:lnTo>
                    <a:pt x="216051" y="6099"/>
                  </a:lnTo>
                  <a:lnTo>
                    <a:pt x="256822" y="23311"/>
                  </a:lnTo>
                  <a:lnTo>
                    <a:pt x="291369" y="50006"/>
                  </a:lnTo>
                  <a:lnTo>
                    <a:pt x="318064" y="84553"/>
                  </a:lnTo>
                  <a:lnTo>
                    <a:pt x="335276" y="125324"/>
                  </a:lnTo>
                  <a:lnTo>
                    <a:pt x="341375" y="170687"/>
                  </a:lnTo>
                  <a:lnTo>
                    <a:pt x="335276" y="216051"/>
                  </a:lnTo>
                  <a:lnTo>
                    <a:pt x="318064" y="256822"/>
                  </a:lnTo>
                  <a:lnTo>
                    <a:pt x="291369" y="291369"/>
                  </a:lnTo>
                  <a:lnTo>
                    <a:pt x="256822" y="318064"/>
                  </a:lnTo>
                  <a:lnTo>
                    <a:pt x="216051" y="335276"/>
                  </a:lnTo>
                  <a:lnTo>
                    <a:pt x="170687" y="341375"/>
                  </a:lnTo>
                  <a:lnTo>
                    <a:pt x="125324" y="335276"/>
                  </a:lnTo>
                  <a:lnTo>
                    <a:pt x="84553" y="318064"/>
                  </a:lnTo>
                  <a:lnTo>
                    <a:pt x="50006" y="291369"/>
                  </a:lnTo>
                  <a:lnTo>
                    <a:pt x="23311" y="256822"/>
                  </a:lnTo>
                  <a:lnTo>
                    <a:pt x="6099" y="216051"/>
                  </a:lnTo>
                  <a:lnTo>
                    <a:pt x="0" y="170687"/>
                  </a:lnTo>
                  <a:close/>
                </a:path>
              </a:pathLst>
            </a:custGeom>
            <a:ln w="9144">
              <a:solidFill>
                <a:srgbClr val="337199"/>
              </a:solidFill>
            </a:ln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pic>
          <p:nvPicPr>
            <p:cNvPr id="55" name="object 55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7327391" y="1562100"/>
              <a:ext cx="138683" cy="167639"/>
            </a:xfrm>
            <a:prstGeom prst="rect">
              <a:avLst/>
            </a:prstGeom>
          </p:spPr>
        </p:pic>
      </p:grpSp>
      <p:grpSp>
        <p:nvGrpSpPr>
          <p:cNvPr id="80" name="object 80"/>
          <p:cNvGrpSpPr/>
          <p:nvPr/>
        </p:nvGrpSpPr>
        <p:grpSpPr>
          <a:xfrm>
            <a:off x="2326639" y="1966977"/>
            <a:ext cx="453813" cy="3912447"/>
            <a:chOff x="1744980" y="1475232"/>
            <a:chExt cx="340360" cy="2934335"/>
          </a:xfrm>
        </p:grpSpPr>
        <p:sp>
          <p:nvSpPr>
            <p:cNvPr id="81" name="object 81"/>
            <p:cNvSpPr/>
            <p:nvPr/>
          </p:nvSpPr>
          <p:spPr>
            <a:xfrm>
              <a:off x="1914144" y="1475232"/>
              <a:ext cx="0" cy="2934335"/>
            </a:xfrm>
            <a:custGeom>
              <a:avLst/>
              <a:gdLst/>
              <a:ahLst/>
              <a:cxnLst/>
              <a:rect l="l" t="t" r="r" b="b"/>
              <a:pathLst>
                <a:path h="2934335">
                  <a:moveTo>
                    <a:pt x="0" y="0"/>
                  </a:moveTo>
                  <a:lnTo>
                    <a:pt x="0" y="2934271"/>
                  </a:lnTo>
                </a:path>
              </a:pathLst>
            </a:custGeom>
            <a:ln w="3175">
              <a:solidFill>
                <a:srgbClr val="808080"/>
              </a:solidFill>
            </a:ln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sp>
          <p:nvSpPr>
            <p:cNvPr id="96" name="object 96"/>
            <p:cNvSpPr/>
            <p:nvPr/>
          </p:nvSpPr>
          <p:spPr>
            <a:xfrm>
              <a:off x="1744980" y="1475232"/>
              <a:ext cx="340360" cy="341630"/>
            </a:xfrm>
            <a:custGeom>
              <a:avLst/>
              <a:gdLst/>
              <a:ahLst/>
              <a:cxnLst/>
              <a:rect l="l" t="t" r="r" b="b"/>
              <a:pathLst>
                <a:path w="340360" h="341630">
                  <a:moveTo>
                    <a:pt x="169925" y="0"/>
                  </a:moveTo>
                  <a:lnTo>
                    <a:pt x="124751" y="6099"/>
                  </a:lnTo>
                  <a:lnTo>
                    <a:pt x="84158" y="23311"/>
                  </a:lnTo>
                  <a:lnTo>
                    <a:pt x="49768" y="50006"/>
                  </a:lnTo>
                  <a:lnTo>
                    <a:pt x="23198" y="84553"/>
                  </a:lnTo>
                  <a:lnTo>
                    <a:pt x="6069" y="125324"/>
                  </a:lnTo>
                  <a:lnTo>
                    <a:pt x="0" y="170687"/>
                  </a:lnTo>
                  <a:lnTo>
                    <a:pt x="6069" y="216051"/>
                  </a:lnTo>
                  <a:lnTo>
                    <a:pt x="23198" y="256822"/>
                  </a:lnTo>
                  <a:lnTo>
                    <a:pt x="49768" y="291369"/>
                  </a:lnTo>
                  <a:lnTo>
                    <a:pt x="84158" y="318064"/>
                  </a:lnTo>
                  <a:lnTo>
                    <a:pt x="124751" y="335276"/>
                  </a:lnTo>
                  <a:lnTo>
                    <a:pt x="169925" y="341375"/>
                  </a:lnTo>
                  <a:lnTo>
                    <a:pt x="215100" y="335276"/>
                  </a:lnTo>
                  <a:lnTo>
                    <a:pt x="255693" y="318064"/>
                  </a:lnTo>
                  <a:lnTo>
                    <a:pt x="290083" y="291369"/>
                  </a:lnTo>
                  <a:lnTo>
                    <a:pt x="316653" y="256822"/>
                  </a:lnTo>
                  <a:lnTo>
                    <a:pt x="333782" y="216051"/>
                  </a:lnTo>
                  <a:lnTo>
                    <a:pt x="339851" y="170687"/>
                  </a:lnTo>
                  <a:lnTo>
                    <a:pt x="333782" y="125324"/>
                  </a:lnTo>
                  <a:lnTo>
                    <a:pt x="316653" y="84553"/>
                  </a:lnTo>
                  <a:lnTo>
                    <a:pt x="290083" y="50006"/>
                  </a:lnTo>
                  <a:lnTo>
                    <a:pt x="255693" y="23311"/>
                  </a:lnTo>
                  <a:lnTo>
                    <a:pt x="215100" y="6099"/>
                  </a:lnTo>
                  <a:lnTo>
                    <a:pt x="1699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sp>
          <p:nvSpPr>
            <p:cNvPr id="97" name="object 97"/>
            <p:cNvSpPr/>
            <p:nvPr/>
          </p:nvSpPr>
          <p:spPr>
            <a:xfrm>
              <a:off x="1744980" y="1475232"/>
              <a:ext cx="340360" cy="341630"/>
            </a:xfrm>
            <a:custGeom>
              <a:avLst/>
              <a:gdLst/>
              <a:ahLst/>
              <a:cxnLst/>
              <a:rect l="l" t="t" r="r" b="b"/>
              <a:pathLst>
                <a:path w="340360" h="341630">
                  <a:moveTo>
                    <a:pt x="0" y="170687"/>
                  </a:moveTo>
                  <a:lnTo>
                    <a:pt x="6069" y="125324"/>
                  </a:lnTo>
                  <a:lnTo>
                    <a:pt x="23198" y="84553"/>
                  </a:lnTo>
                  <a:lnTo>
                    <a:pt x="49768" y="50006"/>
                  </a:lnTo>
                  <a:lnTo>
                    <a:pt x="84158" y="23311"/>
                  </a:lnTo>
                  <a:lnTo>
                    <a:pt x="124751" y="6099"/>
                  </a:lnTo>
                  <a:lnTo>
                    <a:pt x="169925" y="0"/>
                  </a:lnTo>
                  <a:lnTo>
                    <a:pt x="215100" y="6099"/>
                  </a:lnTo>
                  <a:lnTo>
                    <a:pt x="255693" y="23311"/>
                  </a:lnTo>
                  <a:lnTo>
                    <a:pt x="290083" y="50006"/>
                  </a:lnTo>
                  <a:lnTo>
                    <a:pt x="316653" y="84553"/>
                  </a:lnTo>
                  <a:lnTo>
                    <a:pt x="333782" y="125324"/>
                  </a:lnTo>
                  <a:lnTo>
                    <a:pt x="339851" y="170687"/>
                  </a:lnTo>
                  <a:lnTo>
                    <a:pt x="333782" y="216051"/>
                  </a:lnTo>
                  <a:lnTo>
                    <a:pt x="316653" y="256822"/>
                  </a:lnTo>
                  <a:lnTo>
                    <a:pt x="290083" y="291369"/>
                  </a:lnTo>
                  <a:lnTo>
                    <a:pt x="255693" y="318064"/>
                  </a:lnTo>
                  <a:lnTo>
                    <a:pt x="215100" y="335276"/>
                  </a:lnTo>
                  <a:lnTo>
                    <a:pt x="169925" y="341375"/>
                  </a:lnTo>
                  <a:lnTo>
                    <a:pt x="124751" y="335276"/>
                  </a:lnTo>
                  <a:lnTo>
                    <a:pt x="84158" y="318064"/>
                  </a:lnTo>
                  <a:lnTo>
                    <a:pt x="49768" y="291369"/>
                  </a:lnTo>
                  <a:lnTo>
                    <a:pt x="23198" y="256822"/>
                  </a:lnTo>
                  <a:lnTo>
                    <a:pt x="6069" y="216051"/>
                  </a:lnTo>
                  <a:lnTo>
                    <a:pt x="0" y="170687"/>
                  </a:lnTo>
                  <a:close/>
                </a:path>
              </a:pathLst>
            </a:custGeom>
            <a:ln w="9144">
              <a:solidFill>
                <a:srgbClr val="337199"/>
              </a:solidFill>
            </a:ln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  <p:pic>
          <p:nvPicPr>
            <p:cNvPr id="98" name="object 98"/>
            <p:cNvPicPr/>
            <p:nvPr/>
          </p:nvPicPr>
          <p:blipFill>
            <a:blip r:embed="rId8" cstate="print"/>
            <a:stretch>
              <a:fillRect/>
            </a:stretch>
          </p:blipFill>
          <p:spPr>
            <a:xfrm>
              <a:off x="1874519" y="1563624"/>
              <a:ext cx="89916" cy="169163"/>
            </a:xfrm>
            <a:prstGeom prst="rect">
              <a:avLst/>
            </a:prstGeom>
          </p:spPr>
        </p:pic>
      </p:grpSp>
      <p:pic>
        <p:nvPicPr>
          <p:cNvPr id="99" name="object 99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4718305" y="4795554"/>
            <a:ext cx="1286255" cy="1085053"/>
          </a:xfrm>
          <a:prstGeom prst="rect">
            <a:avLst/>
          </a:prstGeom>
        </p:spPr>
      </p:pic>
      <p:grpSp>
        <p:nvGrpSpPr>
          <p:cNvPr id="100" name="object 100"/>
          <p:cNvGrpSpPr/>
          <p:nvPr/>
        </p:nvGrpSpPr>
        <p:grpSpPr>
          <a:xfrm>
            <a:off x="774193" y="4763007"/>
            <a:ext cx="1274233" cy="1117600"/>
            <a:chOff x="580644" y="3572255"/>
            <a:chExt cx="955675" cy="838200"/>
          </a:xfrm>
        </p:grpSpPr>
        <p:pic>
          <p:nvPicPr>
            <p:cNvPr id="101" name="object 101"/>
            <p:cNvPicPr/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580644" y="3572255"/>
              <a:ext cx="955547" cy="838200"/>
            </a:xfrm>
            <a:prstGeom prst="rect">
              <a:avLst/>
            </a:prstGeom>
          </p:spPr>
        </p:pic>
        <p:sp>
          <p:nvSpPr>
            <p:cNvPr id="102" name="object 102"/>
            <p:cNvSpPr/>
            <p:nvPr/>
          </p:nvSpPr>
          <p:spPr>
            <a:xfrm>
              <a:off x="1074420" y="3651503"/>
              <a:ext cx="365760" cy="186055"/>
            </a:xfrm>
            <a:custGeom>
              <a:avLst/>
              <a:gdLst/>
              <a:ahLst/>
              <a:cxnLst/>
              <a:rect l="l" t="t" r="r" b="b"/>
              <a:pathLst>
                <a:path w="365759" h="186054">
                  <a:moveTo>
                    <a:pt x="365760" y="0"/>
                  </a:moveTo>
                  <a:lnTo>
                    <a:pt x="12776" y="1778"/>
                  </a:lnTo>
                  <a:lnTo>
                    <a:pt x="0" y="51943"/>
                  </a:lnTo>
                  <a:lnTo>
                    <a:pt x="6388" y="63627"/>
                  </a:lnTo>
                  <a:lnTo>
                    <a:pt x="49517" y="95504"/>
                  </a:lnTo>
                  <a:lnTo>
                    <a:pt x="57505" y="155829"/>
                  </a:lnTo>
                  <a:lnTo>
                    <a:pt x="57505" y="185928"/>
                  </a:lnTo>
                  <a:lnTo>
                    <a:pt x="365760" y="185928"/>
                  </a:lnTo>
                  <a:lnTo>
                    <a:pt x="36576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2133" dirty="0"/>
            </a:p>
          </p:txBody>
        </p:sp>
      </p:grpSp>
      <p:sp>
        <p:nvSpPr>
          <p:cNvPr id="103" name="object 103"/>
          <p:cNvSpPr txBox="1"/>
          <p:nvPr/>
        </p:nvSpPr>
        <p:spPr>
          <a:xfrm>
            <a:off x="1538359" y="4869160"/>
            <a:ext cx="298872" cy="324875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 marR="6773" indent="847" algn="ctr">
              <a:spcBef>
                <a:spcPts val="133"/>
              </a:spcBef>
            </a:pPr>
            <a:r>
              <a:rPr sz="400" spc="-7" dirty="0">
                <a:latin typeface="Arial"/>
                <a:cs typeface="Arial"/>
              </a:rPr>
              <a:t>„</a:t>
            </a:r>
            <a:r>
              <a:rPr sz="400" spc="-20" dirty="0">
                <a:latin typeface="Arial"/>
                <a:cs typeface="Arial"/>
              </a:rPr>
              <a:t>I</a:t>
            </a:r>
            <a:r>
              <a:rPr sz="400" dirty="0">
                <a:latin typeface="Arial"/>
                <a:cs typeface="Arial"/>
              </a:rPr>
              <a:t>h</a:t>
            </a:r>
            <a:r>
              <a:rPr sz="400" spc="-7" dirty="0">
                <a:latin typeface="Arial"/>
                <a:cs typeface="Arial"/>
              </a:rPr>
              <a:t>r</a:t>
            </a:r>
            <a:r>
              <a:rPr sz="400" dirty="0">
                <a:latin typeface="Arial"/>
                <a:cs typeface="Arial"/>
              </a:rPr>
              <a:t>e</a:t>
            </a:r>
            <a:r>
              <a:rPr sz="400" spc="13" dirty="0">
                <a:latin typeface="Arial"/>
                <a:cs typeface="Arial"/>
              </a:rPr>
              <a:t> </a:t>
            </a:r>
            <a:r>
              <a:rPr sz="400" spc="-7" dirty="0">
                <a:latin typeface="Arial"/>
                <a:cs typeface="Arial"/>
              </a:rPr>
              <a:t>Da</a:t>
            </a:r>
            <a:r>
              <a:rPr sz="400" dirty="0">
                <a:latin typeface="Arial"/>
                <a:cs typeface="Arial"/>
              </a:rPr>
              <a:t>ten  wurden </a:t>
            </a:r>
            <a:r>
              <a:rPr sz="400" spc="7" dirty="0">
                <a:latin typeface="Arial"/>
                <a:cs typeface="Arial"/>
              </a:rPr>
              <a:t> </a:t>
            </a:r>
            <a:r>
              <a:rPr sz="400" dirty="0">
                <a:latin typeface="Arial"/>
                <a:cs typeface="Arial"/>
              </a:rPr>
              <a:t>erfolgreich </a:t>
            </a:r>
            <a:r>
              <a:rPr sz="400" spc="-93" dirty="0">
                <a:latin typeface="Arial"/>
                <a:cs typeface="Arial"/>
              </a:rPr>
              <a:t> </a:t>
            </a:r>
            <a:r>
              <a:rPr sz="400" dirty="0">
                <a:latin typeface="Arial"/>
                <a:cs typeface="Arial"/>
              </a:rPr>
              <a:t>e</a:t>
            </a:r>
            <a:r>
              <a:rPr sz="400" spc="7" dirty="0">
                <a:latin typeface="Arial"/>
                <a:cs typeface="Arial"/>
              </a:rPr>
              <a:t>i</a:t>
            </a:r>
            <a:r>
              <a:rPr sz="400" dirty="0">
                <a:latin typeface="Arial"/>
                <a:cs typeface="Arial"/>
              </a:rPr>
              <a:t>nge</a:t>
            </a:r>
            <a:r>
              <a:rPr sz="400" spc="-7" dirty="0">
                <a:latin typeface="Arial"/>
                <a:cs typeface="Arial"/>
              </a:rPr>
              <a:t>r</a:t>
            </a:r>
            <a:r>
              <a:rPr sz="400" dirty="0">
                <a:latin typeface="Arial"/>
                <a:cs typeface="Arial"/>
              </a:rPr>
              <a:t>e</a:t>
            </a:r>
            <a:r>
              <a:rPr sz="400" spc="-13" dirty="0">
                <a:latin typeface="Arial"/>
                <a:cs typeface="Arial"/>
              </a:rPr>
              <a:t>i</a:t>
            </a:r>
            <a:r>
              <a:rPr sz="400" spc="7" dirty="0">
                <a:latin typeface="Arial"/>
                <a:cs typeface="Arial"/>
              </a:rPr>
              <a:t>c</a:t>
            </a:r>
            <a:r>
              <a:rPr sz="400" spc="-20" dirty="0">
                <a:latin typeface="Arial"/>
                <a:cs typeface="Arial"/>
              </a:rPr>
              <a:t>h</a:t>
            </a:r>
            <a:r>
              <a:rPr sz="400" dirty="0">
                <a:latin typeface="Arial"/>
                <a:cs typeface="Arial"/>
              </a:rPr>
              <a:t>t“</a:t>
            </a:r>
          </a:p>
        </p:txBody>
      </p:sp>
      <p:grpSp>
        <p:nvGrpSpPr>
          <p:cNvPr id="104" name="object 104"/>
          <p:cNvGrpSpPr/>
          <p:nvPr/>
        </p:nvGrpSpPr>
        <p:grpSpPr>
          <a:xfrm>
            <a:off x="6402831" y="4575090"/>
            <a:ext cx="1286933" cy="1305559"/>
            <a:chOff x="4802123" y="3431317"/>
            <a:chExt cx="965200" cy="979169"/>
          </a:xfrm>
        </p:grpSpPr>
        <p:pic>
          <p:nvPicPr>
            <p:cNvPr id="105" name="object 105"/>
            <p:cNvPicPr/>
            <p:nvPr/>
          </p:nvPicPr>
          <p:blipFill>
            <a:blip r:embed="rId11" cstate="print"/>
            <a:stretch>
              <a:fillRect/>
            </a:stretch>
          </p:blipFill>
          <p:spPr>
            <a:xfrm>
              <a:off x="4802123" y="3431317"/>
              <a:ext cx="964691" cy="978836"/>
            </a:xfrm>
            <a:prstGeom prst="rect">
              <a:avLst/>
            </a:prstGeom>
          </p:spPr>
        </p:pic>
        <p:pic>
          <p:nvPicPr>
            <p:cNvPr id="106" name="object 106"/>
            <p:cNvPicPr/>
            <p:nvPr/>
          </p:nvPicPr>
          <p:blipFill>
            <a:blip r:embed="rId12" cstate="print"/>
            <a:stretch>
              <a:fillRect/>
            </a:stretch>
          </p:blipFill>
          <p:spPr>
            <a:xfrm>
              <a:off x="5378195" y="3675887"/>
              <a:ext cx="275844" cy="234696"/>
            </a:xfrm>
            <a:prstGeom prst="rect">
              <a:avLst/>
            </a:prstGeom>
          </p:spPr>
        </p:pic>
      </p:grpSp>
      <p:pic>
        <p:nvPicPr>
          <p:cNvPr id="107" name="object 107"/>
          <p:cNvPicPr/>
          <p:nvPr/>
        </p:nvPicPr>
        <p:blipFill>
          <a:blip r:embed="rId13" cstate="print"/>
          <a:stretch>
            <a:fillRect/>
          </a:stretch>
        </p:blipFill>
        <p:spPr>
          <a:xfrm>
            <a:off x="8178956" y="4755278"/>
            <a:ext cx="1080720" cy="1088633"/>
          </a:xfrm>
          <a:prstGeom prst="rect">
            <a:avLst/>
          </a:prstGeom>
        </p:spPr>
      </p:pic>
      <p:pic>
        <p:nvPicPr>
          <p:cNvPr id="108" name="object 108"/>
          <p:cNvPicPr/>
          <p:nvPr/>
        </p:nvPicPr>
        <p:blipFill>
          <a:blip r:embed="rId14" cstate="print"/>
          <a:stretch>
            <a:fillRect/>
          </a:stretch>
        </p:blipFill>
        <p:spPr>
          <a:xfrm>
            <a:off x="10357159" y="4865230"/>
            <a:ext cx="1282099" cy="1015377"/>
          </a:xfrm>
          <a:prstGeom prst="rect">
            <a:avLst/>
          </a:prstGeom>
        </p:spPr>
      </p:pic>
      <p:pic>
        <p:nvPicPr>
          <p:cNvPr id="109" name="object 109"/>
          <p:cNvPicPr/>
          <p:nvPr/>
        </p:nvPicPr>
        <p:blipFill>
          <a:blip r:embed="rId15" cstate="print"/>
          <a:stretch>
            <a:fillRect/>
          </a:stretch>
        </p:blipFill>
        <p:spPr>
          <a:xfrm>
            <a:off x="3045969" y="4575089"/>
            <a:ext cx="1286255" cy="1305115"/>
          </a:xfrm>
          <a:prstGeom prst="rect">
            <a:avLst/>
          </a:prstGeom>
        </p:spPr>
      </p:pic>
      <p:sp>
        <p:nvSpPr>
          <p:cNvPr id="110" name="Textfeld 109"/>
          <p:cNvSpPr txBox="1"/>
          <p:nvPr/>
        </p:nvSpPr>
        <p:spPr>
          <a:xfrm>
            <a:off x="9216350" y="6034165"/>
            <a:ext cx="257750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0" dirty="0"/>
              <a:t>VEREINFACHTE DARSTELLUNG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507955" y="1948876"/>
            <a:ext cx="1763143" cy="21236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dirty="0"/>
              <a:t>Nutzer bedienen die Onlinelösung </a:t>
            </a:r>
            <a:r>
              <a:rPr lang="de-DE" sz="1200" b="0" dirty="0"/>
              <a:t>zur rechtsverbindlichen Abgabe (mit </a:t>
            </a:r>
            <a:r>
              <a:rPr lang="de-DE" sz="1200" b="0" dirty="0" err="1"/>
              <a:t>eID</a:t>
            </a:r>
            <a:r>
              <a:rPr lang="de-DE" sz="1200" b="0" dirty="0"/>
              <a:t>) oder zur Vorbereitung der Verpflichtungs-erklärung und bezahlen per </a:t>
            </a:r>
            <a:r>
              <a:rPr lang="de-DE" sz="1200" b="0" dirty="0" err="1"/>
              <a:t>ePayment</a:t>
            </a:r>
            <a:r>
              <a:rPr lang="de-DE" sz="1200" b="0" dirty="0"/>
              <a:t> die Vorgangs- und ggf. Portogebühren</a:t>
            </a:r>
          </a:p>
        </p:txBody>
      </p:sp>
      <p:sp>
        <p:nvSpPr>
          <p:cNvPr id="111" name="Textfeld 110"/>
          <p:cNvSpPr txBox="1"/>
          <p:nvPr/>
        </p:nvSpPr>
        <p:spPr>
          <a:xfrm>
            <a:off x="2764458" y="1948876"/>
            <a:ext cx="1763143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Sachbearbeiter erhalten per</a:t>
            </a:r>
            <a:r>
              <a:rPr lang="de-DE" sz="1200" dirty="0"/>
              <a:t> E-Mail </a:t>
            </a:r>
            <a:r>
              <a:rPr lang="de-DE" sz="1200" b="0" dirty="0"/>
              <a:t>die </a:t>
            </a:r>
            <a:r>
              <a:rPr lang="de-DE" sz="1200" dirty="0"/>
              <a:t>Benachrichtigung </a:t>
            </a:r>
            <a:r>
              <a:rPr lang="de-DE" sz="1200" b="0" dirty="0"/>
              <a:t>über einen neuen Posteingang</a:t>
            </a:r>
          </a:p>
        </p:txBody>
      </p:sp>
      <p:sp>
        <p:nvSpPr>
          <p:cNvPr id="113" name="Textfeld 112"/>
          <p:cNvSpPr txBox="1"/>
          <p:nvPr/>
        </p:nvSpPr>
        <p:spPr>
          <a:xfrm>
            <a:off x="4414063" y="1948876"/>
            <a:ext cx="176314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Sachbearbeiter melden sich im elektronischen Postkorb an und können die Posteingänge herunterladen.</a:t>
            </a:r>
          </a:p>
        </p:txBody>
      </p:sp>
      <p:sp>
        <p:nvSpPr>
          <p:cNvPr id="114" name="Textfeld 113"/>
          <p:cNvSpPr txBox="1"/>
          <p:nvPr/>
        </p:nvSpPr>
        <p:spPr>
          <a:xfrm>
            <a:off x="6200749" y="1948876"/>
            <a:ext cx="1763143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Mit Copy &amp; Paste können Angaben in das Fachverfahren übertragen und dort schnell und sicher überprüft werden.</a:t>
            </a:r>
          </a:p>
          <a:p>
            <a:r>
              <a:rPr lang="de-DE" sz="1200" b="0" dirty="0"/>
              <a:t>Seit </a:t>
            </a:r>
            <a:r>
              <a:rPr lang="de-DE" sz="1200" dirty="0"/>
              <a:t>Mai ´22 </a:t>
            </a:r>
            <a:r>
              <a:rPr lang="de-DE" sz="1200" b="0" dirty="0"/>
              <a:t>ist der  Standard </a:t>
            </a:r>
            <a:r>
              <a:rPr lang="de-DE" sz="1200" dirty="0"/>
              <a:t>XAusländer </a:t>
            </a:r>
            <a:r>
              <a:rPr lang="de-DE" sz="1200" b="0" dirty="0"/>
              <a:t>für Fachverfahrens-hersteller </a:t>
            </a:r>
            <a:r>
              <a:rPr lang="de-DE" sz="1200" dirty="0"/>
              <a:t>verpflichtend</a:t>
            </a:r>
            <a:r>
              <a:rPr lang="de-DE" sz="1200" b="0" dirty="0"/>
              <a:t>. </a:t>
            </a:r>
            <a:r>
              <a:rPr lang="de-DE" sz="1000" b="0" dirty="0"/>
              <a:t>Aufgrund des Ukrainekrieges kam es zu Verzögerungen in der Umsetzung. </a:t>
            </a:r>
          </a:p>
        </p:txBody>
      </p:sp>
      <p:sp>
        <p:nvSpPr>
          <p:cNvPr id="115" name="Textfeld 114"/>
          <p:cNvSpPr txBox="1"/>
          <p:nvPr/>
        </p:nvSpPr>
        <p:spPr>
          <a:xfrm>
            <a:off x="7888539" y="1948876"/>
            <a:ext cx="1763143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Nach positiver Prüfung kann die ausgestellte Verpflichtungs-erklärung </a:t>
            </a:r>
            <a:r>
              <a:rPr lang="de-DE" sz="1200" dirty="0"/>
              <a:t>per „Einschreiben Eigenhändig Rückschein“ </a:t>
            </a:r>
            <a:r>
              <a:rPr lang="de-DE" sz="1200" b="0" dirty="0"/>
              <a:t>an den Gastgeber versendet werden. Bei Wahl der Option </a:t>
            </a:r>
            <a:r>
              <a:rPr lang="de-DE" sz="1200" dirty="0"/>
              <a:t>Online-Vorbereitung</a:t>
            </a:r>
            <a:r>
              <a:rPr lang="de-DE" sz="1200" b="0" dirty="0"/>
              <a:t> wird ein </a:t>
            </a:r>
            <a:r>
              <a:rPr lang="de-DE" sz="1200" dirty="0"/>
              <a:t>persönlicher Termin vereinbart.</a:t>
            </a:r>
          </a:p>
        </p:txBody>
      </p:sp>
      <p:sp>
        <p:nvSpPr>
          <p:cNvPr id="116" name="Textfeld 115"/>
          <p:cNvSpPr txBox="1"/>
          <p:nvPr/>
        </p:nvSpPr>
        <p:spPr>
          <a:xfrm>
            <a:off x="10154221" y="1948876"/>
            <a:ext cx="1763143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200" b="0" dirty="0"/>
              <a:t>Die digitale Verpflichtungs-erklärung ermöglicht somit </a:t>
            </a:r>
            <a:r>
              <a:rPr lang="de-DE" sz="1200" dirty="0"/>
              <a:t>Zeit-, Effizienz- und Qualitätsgewinn </a:t>
            </a:r>
            <a:r>
              <a:rPr lang="de-DE" sz="1200" b="0" dirty="0"/>
              <a:t>sowohl für Bürger als auch Sachbearbeiter.</a:t>
            </a:r>
            <a:endParaRPr lang="de-DE" sz="1200" dirty="0"/>
          </a:p>
        </p:txBody>
      </p:sp>
    </p:spTree>
    <p:extLst>
      <p:ext uri="{BB962C8B-B14F-4D97-AF65-F5344CB8AC3E}">
        <p14:creationId xmlns:p14="http://schemas.microsoft.com/office/powerpoint/2010/main" val="3440170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8" name="think-cell Folie" r:id="rId4" imgW="426" imgH="428" progId="TCLayout.ActiveDocument.1">
                  <p:embed/>
                </p:oleObj>
              </mc:Choice>
              <mc:Fallback>
                <p:oleObj name="think-cell Folie" r:id="rId4" imgW="426" imgH="42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1800" b="0" dirty="0">
                <a:solidFill>
                  <a:schemeClr val="bg2"/>
                </a:solidFill>
              </a:rPr>
              <a:t>Die digitale Verpflichtungserklärung</a:t>
            </a:r>
            <a:r>
              <a:rPr lang="de-DE" dirty="0"/>
              <a:t/>
            </a:r>
            <a:br>
              <a:rPr lang="de-DE" dirty="0"/>
            </a:br>
            <a:r>
              <a:rPr lang="de-DE" dirty="0"/>
              <a:t>Onboarding Verpflichtungserklärung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39416" y="2564905"/>
            <a:ext cx="4807577" cy="2592288"/>
          </a:xfrm>
          <a:prstGeom prst="rect">
            <a:avLst/>
          </a:prstGeom>
        </p:spPr>
      </p:pic>
      <p:pic>
        <p:nvPicPr>
          <p:cNvPr id="5" name="object 36"/>
          <p:cNvPicPr/>
          <p:nvPr/>
        </p:nvPicPr>
        <p:blipFill>
          <a:blip r:embed="rId7" cstate="print"/>
          <a:stretch>
            <a:fillRect/>
          </a:stretch>
        </p:blipFill>
        <p:spPr>
          <a:xfrm>
            <a:off x="719667" y="2348880"/>
            <a:ext cx="5040181" cy="3674278"/>
          </a:xfrm>
          <a:prstGeom prst="rect">
            <a:avLst/>
          </a:prstGeom>
        </p:spPr>
      </p:pic>
      <p:sp>
        <p:nvSpPr>
          <p:cNvPr id="14" name="Rechteck 13"/>
          <p:cNvSpPr/>
          <p:nvPr/>
        </p:nvSpPr>
        <p:spPr>
          <a:xfrm>
            <a:off x="6096000" y="3314385"/>
            <a:ext cx="568863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dirty="0" err="1" smtClean="0">
                <a:solidFill>
                  <a:schemeClr val="tx1"/>
                </a:solidFill>
                <a:hlinkClick r:id="rId8"/>
              </a:rPr>
              <a:t>Testlink</a:t>
            </a:r>
            <a:r>
              <a:rPr lang="de-DE" dirty="0" smtClean="0">
                <a:solidFill>
                  <a:schemeClr val="tx1"/>
                </a:solidFill>
                <a:hlinkClick r:id="rId8"/>
              </a:rPr>
              <a:t>:</a:t>
            </a:r>
          </a:p>
          <a:p>
            <a:r>
              <a:rPr lang="de-DE" dirty="0" smtClean="0">
                <a:solidFill>
                  <a:schemeClr val="tx1"/>
                </a:solidFill>
                <a:hlinkClick r:id="rId8"/>
              </a:rPr>
              <a:t>https</a:t>
            </a:r>
            <a:r>
              <a:rPr lang="de-DE" dirty="0">
                <a:solidFill>
                  <a:schemeClr val="tx1"/>
                </a:solidFill>
                <a:hlinkClick r:id="rId8"/>
              </a:rPr>
              <a:t>://portal-civ-qs.ekom21.de/civ-brd-qs.public/start.html?oe=00.00.VE&amp;mode=cc&amp;cc_key=Verpflichtungserklaerung</a:t>
            </a:r>
            <a:r>
              <a:rPr lang="de-DE" dirty="0">
                <a:solidFill>
                  <a:schemeClr val="tx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34698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1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chritte zur Einrichtung der Verpflichtungserklärung für eine Ausländerbehörde (1)</a:t>
            </a:r>
          </a:p>
        </p:txBody>
      </p:sp>
      <p:graphicFrame>
        <p:nvGraphicFramePr>
          <p:cNvPr id="5" name="Inhaltsplatzhalter 6"/>
          <p:cNvGraphicFramePr>
            <a:graphicFrameLocks/>
          </p:cNvGraphicFramePr>
          <p:nvPr>
            <p:extLst/>
          </p:nvPr>
        </p:nvGraphicFramePr>
        <p:xfrm>
          <a:off x="719667" y="1842806"/>
          <a:ext cx="10944225" cy="4587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8" name="ekom21-Logo RGB">
            <a:extLst>
              <a:ext uri="{FF2B5EF4-FFF2-40B4-BE49-F238E27FC236}">
                <a16:creationId xmlns:a16="http://schemas.microsoft.com/office/drawing/2014/main" id="{BB47CBED-17A1-9F4D-8E61-5ADE3717D2F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9566451" y="476672"/>
            <a:ext cx="1530000" cy="22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409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5" name="think-cell Folie" r:id="rId4" imgW="347" imgH="348" progId="TCLayout.ActiveDocument.1">
                  <p:embed/>
                </p:oleObj>
              </mc:Choice>
              <mc:Fallback>
                <p:oleObj name="think-cell Folie" r:id="rId4" imgW="347" imgH="348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/>
              <a:t>Schritte zur Einrichtung der Verpflichtungserklärung für eine Ausländerbehörde </a:t>
            </a:r>
            <a:r>
              <a:rPr lang="de-DE" dirty="0" smtClean="0"/>
              <a:t>(2)</a:t>
            </a:r>
            <a:endParaRPr lang="de-DE" dirty="0"/>
          </a:p>
        </p:txBody>
      </p:sp>
      <p:graphicFrame>
        <p:nvGraphicFramePr>
          <p:cNvPr id="8" name="Inhaltsplatzhalter 6"/>
          <p:cNvGraphicFramePr>
            <a:graphicFrameLocks/>
          </p:cNvGraphicFramePr>
          <p:nvPr>
            <p:extLst/>
          </p:nvPr>
        </p:nvGraphicFramePr>
        <p:xfrm>
          <a:off x="724494" y="1700808"/>
          <a:ext cx="10944225" cy="45878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pic>
        <p:nvPicPr>
          <p:cNvPr id="9" name="ekom21-Logo RGB">
            <a:extLst>
              <a:ext uri="{FF2B5EF4-FFF2-40B4-BE49-F238E27FC236}">
                <a16:creationId xmlns:a16="http://schemas.microsoft.com/office/drawing/2014/main" id="{BB47CBED-17A1-9F4D-8E61-5ADE3717D2F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9566451" y="476672"/>
            <a:ext cx="1530000" cy="227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8207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Haben Sie Fragen?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sz="2100" dirty="0"/>
          </a:p>
          <a:p>
            <a:r>
              <a:rPr lang="de-DE" dirty="0" smtClean="0"/>
              <a:t>Vielen Dank für Ihre Aufmerksamke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82016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14">
            <a:extLst>
              <a:ext uri="{FF2B5EF4-FFF2-40B4-BE49-F238E27FC236}">
                <a16:creationId xmlns:a16="http://schemas.microsoft.com/office/drawing/2014/main" id="{847C5849-82BB-1FA4-5004-CDBD235DEE08}"/>
              </a:ext>
            </a:extLst>
          </p:cNvPr>
          <p:cNvGrpSpPr/>
          <p:nvPr/>
        </p:nvGrpSpPr>
        <p:grpSpPr>
          <a:xfrm>
            <a:off x="407368" y="0"/>
            <a:ext cx="12192000" cy="6862453"/>
            <a:chOff x="-1" y="0"/>
            <a:chExt cx="12192000" cy="6862453"/>
          </a:xfrm>
        </p:grpSpPr>
        <p:pic>
          <p:nvPicPr>
            <p:cNvPr id="6" name="Grafik 20" descr="Ein Bild, das Person, drinnen, Frau, Tisch enthält.&#10;&#10;Automatisch generierte Beschreibung">
              <a:extLst>
                <a:ext uri="{FF2B5EF4-FFF2-40B4-BE49-F238E27FC236}">
                  <a16:creationId xmlns:a16="http://schemas.microsoft.com/office/drawing/2014/main" id="{A9A8BC58-2BC9-DA60-10FB-21CCB057DFE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848"/>
            <a:stretch/>
          </p:blipFill>
          <p:spPr>
            <a:xfrm flipH="1">
              <a:off x="1758722" y="0"/>
              <a:ext cx="10433277" cy="6862453"/>
            </a:xfrm>
            <a:prstGeom prst="rect">
              <a:avLst/>
            </a:prstGeom>
          </p:spPr>
        </p:pic>
        <p:pic>
          <p:nvPicPr>
            <p:cNvPr id="7" name="Grafik 31" descr="Ein Bild, das Person, drinnen, Frau, Tisch enthält.&#10;&#10;Automatisch generierte Beschreibung">
              <a:extLst>
                <a:ext uri="{FF2B5EF4-FFF2-40B4-BE49-F238E27FC236}">
                  <a16:creationId xmlns:a16="http://schemas.microsoft.com/office/drawing/2014/main" id="{5B0F5589-DB1D-450A-512D-2ED23FE7DC8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 flipH="1">
              <a:off x="-1" y="0"/>
              <a:ext cx="5613034" cy="6862453"/>
            </a:xfrm>
            <a:prstGeom prst="rect">
              <a:avLst/>
            </a:prstGeom>
          </p:spPr>
        </p:pic>
      </p:grpSp>
      <p:sp>
        <p:nvSpPr>
          <p:cNvPr id="4" name="Rechteck 23">
            <a:extLst>
              <a:ext uri="{FF2B5EF4-FFF2-40B4-BE49-F238E27FC236}">
                <a16:creationId xmlns:a16="http://schemas.microsoft.com/office/drawing/2014/main" id="{7682E46A-6C96-ACCE-2B9A-245545667B6B}"/>
              </a:ext>
            </a:extLst>
          </p:cNvPr>
          <p:cNvSpPr/>
          <p:nvPr/>
        </p:nvSpPr>
        <p:spPr>
          <a:xfrm>
            <a:off x="392629" y="-4868"/>
            <a:ext cx="9040622" cy="6858000"/>
          </a:xfrm>
          <a:prstGeom prst="rect">
            <a:avLst/>
          </a:prstGeom>
          <a:gradFill flip="none" rotWithShape="1">
            <a:gsLst>
              <a:gs pos="25000">
                <a:schemeClr val="bg1">
                  <a:alpha val="9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Ins="28800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756895-443B-C8C4-C5CB-E623D72E58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Ansprechpartner Hessen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090A658C-73E8-3EFF-E60E-9E8F4999E4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9667" y="1484784"/>
            <a:ext cx="10365316" cy="4113212"/>
          </a:xfrm>
        </p:spPr>
        <p:txBody>
          <a:bodyPr/>
          <a:lstStyle/>
          <a:p>
            <a:pPr marL="285750" indent="-285750">
              <a:buFont typeface="Wingdings" pitchFamily="2" charset="2"/>
              <a:buChar char="§"/>
            </a:pPr>
            <a:r>
              <a:rPr lang="de-DE" sz="1600" dirty="0"/>
              <a:t>Fachliche Fragen zum Prozess </a:t>
            </a:r>
            <a:r>
              <a:rPr lang="de-DE" sz="1600" dirty="0" smtClean="0"/>
              <a:t>Verpflichtungserklärung</a:t>
            </a:r>
          </a:p>
          <a:p>
            <a:pPr marL="0" indent="0">
              <a:buNone/>
            </a:pPr>
            <a:r>
              <a:rPr lang="de-DE" sz="1600" dirty="0"/>
              <a:t>	Zorana Simic</a:t>
            </a:r>
          </a:p>
          <a:p>
            <a:pPr marL="0" indent="0">
              <a:buNone/>
            </a:pPr>
            <a:r>
              <a:rPr lang="de-DE" sz="1600" dirty="0">
                <a:solidFill>
                  <a:srgbClr val="FF0000"/>
                </a:solidFill>
              </a:rPr>
              <a:t>	</a:t>
            </a:r>
            <a:r>
              <a:rPr lang="de-DE" sz="1600" b="1" u="sng" dirty="0" smtClean="0">
                <a:solidFill>
                  <a:srgbClr val="FF0000"/>
                </a:solidFill>
                <a:hlinkClick r:id="rId5"/>
              </a:rPr>
              <a:t>ozg-ve@hmdis.hessen.de</a:t>
            </a:r>
            <a:endParaRPr lang="de-DE" sz="1600" b="1" u="sng" dirty="0">
              <a:solidFill>
                <a:srgbClr val="FF0000"/>
              </a:solidFill>
            </a:endParaRPr>
          </a:p>
          <a:p>
            <a:pPr marL="0" indent="0">
              <a:buNone/>
            </a:pPr>
            <a:r>
              <a:rPr lang="de-DE" sz="1600" dirty="0"/>
              <a:t>	0152 24109979</a:t>
            </a:r>
          </a:p>
          <a:p>
            <a:pPr marL="285750" indent="-285750">
              <a:buFont typeface="Wingdings" pitchFamily="2" charset="2"/>
              <a:buChar char="§"/>
            </a:pPr>
            <a:endParaRPr lang="de-DE" sz="1600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sz="1600" dirty="0"/>
              <a:t>Rolloutteam Verpflichtungserklärung</a:t>
            </a:r>
            <a:br>
              <a:rPr lang="de-DE" sz="1600" dirty="0"/>
            </a:br>
            <a:r>
              <a:rPr lang="de-DE" sz="1600" dirty="0" smtClean="0"/>
              <a:t>	</a:t>
            </a:r>
            <a:r>
              <a:rPr lang="de-DE" sz="1600" b="1" dirty="0" smtClean="0">
                <a:hlinkClick r:id="rId6"/>
              </a:rPr>
              <a:t>verpflichtungserklaerung-support@ekom21.de</a:t>
            </a:r>
            <a:r>
              <a:rPr lang="de-DE" sz="1600" b="1" dirty="0" smtClean="0"/>
              <a:t> </a:t>
            </a:r>
            <a:r>
              <a:rPr lang="de-DE" sz="1600" dirty="0"/>
              <a:t/>
            </a:r>
            <a:br>
              <a:rPr lang="de-DE" sz="1600" dirty="0"/>
            </a:br>
            <a:endParaRPr lang="de-DE" sz="1600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sz="1600" dirty="0"/>
              <a:t>epayment</a:t>
            </a:r>
            <a:br>
              <a:rPr lang="de-DE" sz="1600" dirty="0"/>
            </a:br>
            <a:r>
              <a:rPr lang="de-DE" sz="1600" dirty="0"/>
              <a:t>bitte kontaktieren Sie den Anbieter der </a:t>
            </a:r>
            <a:r>
              <a:rPr lang="de-DE" sz="1600" dirty="0" err="1"/>
              <a:t>epayment</a:t>
            </a:r>
            <a:r>
              <a:rPr lang="de-DE" sz="1600" dirty="0"/>
              <a:t> </a:t>
            </a:r>
            <a:r>
              <a:rPr lang="de-DE" sz="1600" dirty="0" smtClean="0"/>
              <a:t>Plattform</a:t>
            </a:r>
            <a:endParaRPr lang="de-DE" sz="1600" dirty="0"/>
          </a:p>
          <a:p>
            <a:pPr marL="0" indent="0">
              <a:buNone/>
            </a:pPr>
            <a:endParaRPr lang="de-DE" sz="1600" b="1" u="sng" dirty="0"/>
          </a:p>
          <a:p>
            <a:pPr marL="285750" indent="-285750">
              <a:buFont typeface="Wingdings" pitchFamily="2" charset="2"/>
              <a:buChar char="§"/>
            </a:pPr>
            <a:r>
              <a:rPr lang="de-DE" sz="1600" dirty="0"/>
              <a:t>Support nach Produktivgang</a:t>
            </a:r>
            <a:br>
              <a:rPr lang="de-DE" sz="1600" dirty="0"/>
            </a:br>
            <a:r>
              <a:rPr lang="de-DE" sz="1600" b="1" u="sng" dirty="0">
                <a:hlinkClick r:id="rId7"/>
              </a:rPr>
              <a:t>support-digitalisierung@ekom21.de</a:t>
            </a:r>
            <a:r>
              <a:rPr lang="de-DE" sz="1600" b="1" dirty="0"/>
              <a:t> </a:t>
            </a:r>
            <a:r>
              <a:rPr lang="de-DE" sz="1600" dirty="0"/>
              <a:t/>
            </a:r>
            <a:br>
              <a:rPr lang="de-DE" sz="1600" dirty="0"/>
            </a:br>
            <a:r>
              <a:rPr lang="de-DE" sz="1600" dirty="0"/>
              <a:t/>
            </a:r>
            <a:br>
              <a:rPr lang="de-DE" sz="1600" dirty="0"/>
            </a:br>
            <a:endParaRPr lang="de-DE" sz="1600" dirty="0"/>
          </a:p>
          <a:p>
            <a:endParaRPr lang="de-DE" sz="1600" dirty="0"/>
          </a:p>
        </p:txBody>
      </p:sp>
      <p:pic>
        <p:nvPicPr>
          <p:cNvPr id="8" name="Grafik 2">
            <a:extLst>
              <a:ext uri="{FF2B5EF4-FFF2-40B4-BE49-F238E27FC236}">
                <a16:creationId xmlns:a16="http://schemas.microsoft.com/office/drawing/2014/main" id="{5739746F-F89E-8FE5-95EE-09295BC4895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214100" y="289023"/>
            <a:ext cx="571500" cy="771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86036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5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055813" y="1412875"/>
            <a:ext cx="7772400" cy="1143000"/>
          </a:xfrm>
        </p:spPr>
        <p:txBody>
          <a:bodyPr vert="horz"/>
          <a:lstStyle/>
          <a:p>
            <a:r>
              <a:rPr lang="de-DE" dirty="0"/>
              <a:t>Die FITKO stellt vor: Der </a:t>
            </a:r>
            <a:r>
              <a:rPr lang="de-DE" dirty="0" err="1"/>
              <a:t>EfA</a:t>
            </a:r>
            <a:r>
              <a:rPr lang="de-DE" dirty="0"/>
              <a:t>-Onlinedienst „Verpflichtungserklärung“</a:t>
            </a:r>
            <a:endParaRPr lang="de-DE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09084" y="3122612"/>
            <a:ext cx="8534400" cy="3114699"/>
          </a:xfrm>
        </p:spPr>
        <p:txBody>
          <a:bodyPr/>
          <a:lstStyle/>
          <a:p>
            <a:pPr eaLnBrk="1" hangingPunct="1"/>
            <a:r>
              <a:rPr lang="de-DE" altLang="de-DE" dirty="0" smtClean="0"/>
              <a:t>OZG-Leistung „Verpflichtungserklärung“</a:t>
            </a:r>
          </a:p>
          <a:p>
            <a:r>
              <a:rPr lang="de-DE" altLang="de-DE" sz="1800" dirty="0" smtClean="0"/>
              <a:t> </a:t>
            </a:r>
          </a:p>
          <a:p>
            <a:endParaRPr lang="de-DE" altLang="de-DE" sz="1800" dirty="0"/>
          </a:p>
          <a:p>
            <a:pPr eaLnBrk="1" hangingPunct="1"/>
            <a:r>
              <a:rPr lang="de-DE" altLang="de-DE" sz="1800" dirty="0" err="1" smtClean="0"/>
              <a:t>Kristoffer</a:t>
            </a:r>
            <a:r>
              <a:rPr lang="de-DE" altLang="de-DE" sz="1800" dirty="0" smtClean="0"/>
              <a:t> Wentz, </a:t>
            </a:r>
            <a:r>
              <a:rPr lang="de-DE" altLang="de-DE" sz="1800" dirty="0" err="1" smtClean="0"/>
              <a:t>HMdIS</a:t>
            </a:r>
            <a:endParaRPr lang="de-DE" altLang="de-DE" sz="1800" dirty="0" smtClean="0"/>
          </a:p>
          <a:p>
            <a:pPr eaLnBrk="1" hangingPunct="1"/>
            <a:r>
              <a:rPr lang="de-DE" altLang="de-DE" sz="1800" dirty="0" smtClean="0"/>
              <a:t>Simon </a:t>
            </a:r>
            <a:r>
              <a:rPr lang="de-DE" altLang="de-DE" sz="1800" dirty="0" err="1" smtClean="0"/>
              <a:t>Jestädt</a:t>
            </a:r>
            <a:r>
              <a:rPr lang="de-DE" altLang="de-DE" sz="1800" dirty="0" smtClean="0"/>
              <a:t>, </a:t>
            </a:r>
            <a:r>
              <a:rPr lang="de-DE" altLang="de-DE" sz="1800" dirty="0" err="1" smtClean="0"/>
              <a:t>HMdIS</a:t>
            </a:r>
            <a:endParaRPr lang="de-DE" altLang="de-DE" sz="1800" dirty="0" smtClean="0"/>
          </a:p>
          <a:p>
            <a:pPr eaLnBrk="1" hangingPunct="1"/>
            <a:r>
              <a:rPr lang="de-DE" altLang="de-DE" sz="1800" dirty="0" smtClean="0"/>
              <a:t>Zorana Simic, HMdIS ext.</a:t>
            </a:r>
          </a:p>
          <a:p>
            <a:pPr eaLnBrk="1" hangingPunct="1"/>
            <a:r>
              <a:rPr lang="de-DE" altLang="de-DE" sz="1800" dirty="0" smtClean="0"/>
              <a:t>Dirk Frenz, ekom21 ext. </a:t>
            </a:r>
          </a:p>
        </p:txBody>
      </p:sp>
    </p:spTree>
    <p:extLst>
      <p:ext uri="{BB962C8B-B14F-4D97-AF65-F5344CB8AC3E}">
        <p14:creationId xmlns:p14="http://schemas.microsoft.com/office/powerpoint/2010/main" val="965380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el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de-DE" altLang="de-DE" dirty="0" smtClean="0"/>
              <a:t>Agenda</a:t>
            </a:r>
            <a:br>
              <a:rPr lang="de-DE" altLang="de-DE" dirty="0" smtClean="0"/>
            </a:br>
            <a:endParaRPr lang="de-DE" altLang="de-DE" dirty="0" smtClean="0"/>
          </a:p>
        </p:txBody>
      </p:sp>
      <p:sp>
        <p:nvSpPr>
          <p:cNvPr id="4099" name="Inhaltsplatzhalter 3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de-DE" dirty="0" smtClean="0"/>
              <a:t>Begrüßung</a:t>
            </a:r>
          </a:p>
          <a:p>
            <a:pPr lvl="0"/>
            <a:r>
              <a:rPr lang="de-DE" dirty="0" smtClean="0"/>
              <a:t>Verpflichtungserklärung</a:t>
            </a:r>
          </a:p>
          <a:p>
            <a:pPr lvl="1"/>
            <a:r>
              <a:rPr lang="de-DE" dirty="0" smtClean="0"/>
              <a:t>Worüber sprechen wir eigentlich?</a:t>
            </a:r>
          </a:p>
          <a:p>
            <a:pPr lvl="1"/>
            <a:r>
              <a:rPr lang="de-DE" dirty="0" smtClean="0"/>
              <a:t>Aktuelle Herausforderungen </a:t>
            </a:r>
          </a:p>
          <a:p>
            <a:pPr lvl="1"/>
            <a:r>
              <a:rPr lang="de-DE" dirty="0" smtClean="0"/>
              <a:t>Vorteile vom Onlinedienst</a:t>
            </a:r>
          </a:p>
          <a:p>
            <a:pPr lvl="0"/>
            <a:r>
              <a:rPr lang="de-DE" dirty="0" smtClean="0"/>
              <a:t>Status </a:t>
            </a:r>
            <a:r>
              <a:rPr lang="de-DE" dirty="0" smtClean="0"/>
              <a:t>der Verpflichtungserklärung (VE)</a:t>
            </a:r>
          </a:p>
          <a:p>
            <a:pPr lvl="1"/>
            <a:r>
              <a:rPr lang="de-DE" dirty="0" smtClean="0"/>
              <a:t>Organisatorisch</a:t>
            </a:r>
            <a:endParaRPr lang="de-DE" dirty="0"/>
          </a:p>
          <a:p>
            <a:pPr lvl="1"/>
            <a:r>
              <a:rPr lang="de-DE" dirty="0" smtClean="0"/>
              <a:t>Fachlich/ Technisch</a:t>
            </a:r>
            <a:endParaRPr lang="de-DE" dirty="0"/>
          </a:p>
          <a:p>
            <a:pPr lvl="1"/>
            <a:r>
              <a:rPr lang="de-DE" dirty="0" smtClean="0"/>
              <a:t>Rechtlich</a:t>
            </a:r>
            <a:endParaRPr lang="de-DE" dirty="0"/>
          </a:p>
          <a:p>
            <a:pPr lvl="1"/>
            <a:r>
              <a:rPr lang="de-DE" dirty="0" smtClean="0"/>
              <a:t>Finanziell</a:t>
            </a:r>
            <a:endParaRPr lang="de-DE" dirty="0"/>
          </a:p>
          <a:p>
            <a:r>
              <a:rPr lang="de-DE" dirty="0" smtClean="0"/>
              <a:t>Frag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28301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3631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6" name="think-cell Folie" r:id="rId5" imgW="512" imgH="514" progId="TCLayout.ActiveDocument.1">
                  <p:embed/>
                </p:oleObj>
              </mc:Choice>
              <mc:Fallback>
                <p:oleObj name="think-cell Folie" r:id="rId5" imgW="512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smtClean="0">
                <a:solidFill>
                  <a:schemeClr val="accent4"/>
                </a:solidFill>
              </a:rPr>
              <a:t>Was ist die Verpflichtungserklärung?</a:t>
            </a:r>
            <a:endParaRPr lang="de-DE" dirty="0">
              <a:solidFill>
                <a:schemeClr val="accent4"/>
              </a:solidFill>
            </a:endParaRPr>
          </a:p>
        </p:txBody>
      </p:sp>
      <p:sp>
        <p:nvSpPr>
          <p:cNvPr id="3" name="Ovale Legende 2"/>
          <p:cNvSpPr/>
          <p:nvPr/>
        </p:nvSpPr>
        <p:spPr>
          <a:xfrm>
            <a:off x="713094" y="4077072"/>
            <a:ext cx="3438690" cy="2088232"/>
          </a:xfrm>
          <a:prstGeom prst="wedgeEllipseCallout">
            <a:avLst>
              <a:gd name="adj1" fmla="val 61277"/>
              <a:gd name="adj2" fmla="val -34408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Ovale Legende 8"/>
          <p:cNvSpPr/>
          <p:nvPr/>
        </p:nvSpPr>
        <p:spPr>
          <a:xfrm>
            <a:off x="9169851" y="1844675"/>
            <a:ext cx="2821169" cy="1512168"/>
          </a:xfrm>
          <a:prstGeom prst="wedgeEllipseCallout">
            <a:avLst>
              <a:gd name="adj1" fmla="val -50220"/>
              <a:gd name="adj2" fmla="val 47436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4"/>
                </a:solidFill>
              </a:rPr>
              <a:t>Ja, dann nehme ich nun Ihre Daten zur Prüfung der Bonität auf.</a:t>
            </a:r>
            <a:endParaRPr lang="de-DE" dirty="0">
              <a:solidFill>
                <a:schemeClr val="accent4"/>
              </a:solidFill>
            </a:endParaRPr>
          </a:p>
        </p:txBody>
      </p:sp>
      <p:sp>
        <p:nvSpPr>
          <p:cNvPr id="10" name="Ovale Legende 9"/>
          <p:cNvSpPr/>
          <p:nvPr/>
        </p:nvSpPr>
        <p:spPr>
          <a:xfrm>
            <a:off x="549234" y="1296144"/>
            <a:ext cx="3756417" cy="2088232"/>
          </a:xfrm>
          <a:prstGeom prst="wedgeEllipseCallout">
            <a:avLst>
              <a:gd name="adj1" fmla="val 57676"/>
              <a:gd name="adj2" fmla="val 45322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>
                <a:solidFill>
                  <a:schemeClr val="accent4"/>
                </a:solidFill>
              </a:rPr>
              <a:t>Ich möchte ein Visum für meine Großmutter </a:t>
            </a:r>
            <a:r>
              <a:rPr lang="de-DE" dirty="0" smtClean="0">
                <a:solidFill>
                  <a:schemeClr val="accent4"/>
                </a:solidFill>
              </a:rPr>
              <a:t>beantragen. Muss ich die Verpflichtungserklärung vorher </a:t>
            </a:r>
            <a:r>
              <a:rPr lang="de-DE" dirty="0" smtClean="0">
                <a:solidFill>
                  <a:schemeClr val="accent4"/>
                </a:solidFill>
              </a:rPr>
              <a:t>abgeben?</a:t>
            </a:r>
            <a:endParaRPr lang="de-DE" dirty="0">
              <a:solidFill>
                <a:schemeClr val="accent4"/>
              </a:solidFill>
            </a:endParaRPr>
          </a:p>
        </p:txBody>
      </p:sp>
      <p:pic>
        <p:nvPicPr>
          <p:cNvPr id="11" name="Grafik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784" y="2815828"/>
            <a:ext cx="2631352" cy="3384376"/>
          </a:xfrm>
          <a:prstGeom prst="rect">
            <a:avLst/>
          </a:prstGeom>
        </p:spPr>
      </p:pic>
      <p:grpSp>
        <p:nvGrpSpPr>
          <p:cNvPr id="13" name="Gruppieren 12"/>
          <p:cNvGrpSpPr/>
          <p:nvPr/>
        </p:nvGrpSpPr>
        <p:grpSpPr>
          <a:xfrm>
            <a:off x="7239198" y="2475396"/>
            <a:ext cx="3120072" cy="4065240"/>
            <a:chOff x="7552651" y="2475396"/>
            <a:chExt cx="3120072" cy="4065240"/>
          </a:xfrm>
        </p:grpSpPr>
        <p:pic>
          <p:nvPicPr>
            <p:cNvPr id="7" name="Grafik 6"/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307" t="11550" r="18088" b="12851"/>
            <a:stretch/>
          </p:blipFill>
          <p:spPr>
            <a:xfrm rot="20470371">
              <a:off x="7708501" y="2838693"/>
              <a:ext cx="756966" cy="1091366"/>
            </a:xfrm>
            <a:prstGeom prst="rect">
              <a:avLst/>
            </a:prstGeom>
          </p:spPr>
        </p:pic>
        <p:pic>
          <p:nvPicPr>
            <p:cNvPr id="12" name="Grafik 11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7552651" y="2475396"/>
              <a:ext cx="3120072" cy="4065240"/>
            </a:xfrm>
            <a:prstGeom prst="rect">
              <a:avLst/>
            </a:prstGeom>
          </p:spPr>
        </p:pic>
      </p:grpSp>
      <p:pic>
        <p:nvPicPr>
          <p:cNvPr id="14" name="Grafik 1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6873" y="4077072"/>
            <a:ext cx="2736880" cy="18747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1335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522172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1" name="think-cell Folie" r:id="rId8" imgW="512" imgH="514" progId="TCLayout.ActiveDocument.1">
                  <p:embed/>
                </p:oleObj>
              </mc:Choice>
              <mc:Fallback>
                <p:oleObj name="think-cell Folie" r:id="rId8" imgW="512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98" t="20342" r="3098" b="21710"/>
          <a:stretch/>
        </p:blipFill>
        <p:spPr>
          <a:xfrm>
            <a:off x="3359696" y="1177137"/>
            <a:ext cx="8256740" cy="3187967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1886" y="2829289"/>
            <a:ext cx="1631881" cy="2664296"/>
          </a:xfrm>
          <a:prstGeom prst="rect">
            <a:avLst/>
          </a:prstGeom>
        </p:spPr>
      </p:pic>
      <p:pic>
        <p:nvPicPr>
          <p:cNvPr id="6" name="Grafik 5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213" y="3204531"/>
            <a:ext cx="1558613" cy="2664296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90" y="3450011"/>
            <a:ext cx="1531970" cy="2664296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8551" y="3690842"/>
            <a:ext cx="1405416" cy="2664296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7847" t="17433" r="19231" b="64599"/>
          <a:stretch/>
        </p:blipFill>
        <p:spPr>
          <a:xfrm>
            <a:off x="10240277" y="1268760"/>
            <a:ext cx="1172967" cy="1117110"/>
          </a:xfrm>
          <a:prstGeom prst="rect">
            <a:avLst/>
          </a:prstGeom>
        </p:spPr>
      </p:pic>
      <p:sp>
        <p:nvSpPr>
          <p:cNvPr id="11" name="Textfeld 10"/>
          <p:cNvSpPr txBox="1"/>
          <p:nvPr/>
        </p:nvSpPr>
        <p:spPr>
          <a:xfrm>
            <a:off x="6096000" y="1340768"/>
            <a:ext cx="1994457" cy="338554"/>
          </a:xfrm>
          <a:prstGeom prst="rect">
            <a:avLst/>
          </a:prstGeom>
          <a:solidFill>
            <a:srgbClr val="FA9744"/>
          </a:solidFill>
        </p:spPr>
        <p:txBody>
          <a:bodyPr wrap="none" rtlCol="0">
            <a:spAutoFit/>
          </a:bodyPr>
          <a:lstStyle/>
          <a:p>
            <a:r>
              <a:rPr lang="de-DE" dirty="0" smtClean="0">
                <a:solidFill>
                  <a:schemeClr val="bg1"/>
                </a:solidFill>
              </a:rPr>
              <a:t>Ausländerbehörde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5173818" y="4725144"/>
            <a:ext cx="6442618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1800" dirty="0" smtClean="0">
                <a:solidFill>
                  <a:schemeClr val="accent4"/>
                </a:solidFill>
              </a:rPr>
              <a:t>Mehrmalige Vor-Ort-Termine zwingend notwendig</a:t>
            </a:r>
          </a:p>
          <a:p>
            <a:pPr>
              <a:spcAft>
                <a:spcPts val="1200"/>
              </a:spcAft>
            </a:pPr>
            <a:r>
              <a:rPr lang="de-DE" sz="1800" dirty="0" smtClean="0">
                <a:solidFill>
                  <a:schemeClr val="accent4"/>
                </a:solidFill>
              </a:rPr>
              <a:t>Wartezeiten</a:t>
            </a:r>
          </a:p>
          <a:p>
            <a:pPr>
              <a:spcAft>
                <a:spcPts val="1200"/>
              </a:spcAft>
            </a:pPr>
            <a:r>
              <a:rPr lang="de-DE" sz="1800" dirty="0" smtClean="0">
                <a:solidFill>
                  <a:schemeClr val="accent4"/>
                </a:solidFill>
              </a:rPr>
              <a:t>Fehleranfälligkeit bei Datenerhebung</a:t>
            </a:r>
          </a:p>
          <a:p>
            <a:pPr>
              <a:spcAft>
                <a:spcPts val="1200"/>
              </a:spcAft>
            </a:pPr>
            <a:r>
              <a:rPr lang="de-DE" sz="1800" dirty="0" smtClean="0">
                <a:solidFill>
                  <a:schemeClr val="accent4"/>
                </a:solidFill>
              </a:rPr>
              <a:t>Unwissen bei </a:t>
            </a:r>
            <a:r>
              <a:rPr lang="de-DE" sz="1800" dirty="0" smtClean="0">
                <a:solidFill>
                  <a:schemeClr val="accent4"/>
                </a:solidFill>
              </a:rPr>
              <a:t>Bürger, </a:t>
            </a:r>
            <a:r>
              <a:rPr lang="de-DE" sz="1800" dirty="0" smtClean="0">
                <a:solidFill>
                  <a:schemeClr val="accent4"/>
                </a:solidFill>
              </a:rPr>
              <a:t>welche Daten benötigt werden</a:t>
            </a:r>
            <a:endParaRPr lang="de-DE" sz="1800" dirty="0">
              <a:solidFill>
                <a:schemeClr val="accent4"/>
              </a:solidFill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719667" y="836613"/>
            <a:ext cx="2928061" cy="1725748"/>
          </a:xfrm>
        </p:spPr>
        <p:txBody>
          <a:bodyPr vert="horz"/>
          <a:lstStyle/>
          <a:p>
            <a:r>
              <a:rPr lang="de-DE" sz="2400" b="1" dirty="0" smtClean="0">
                <a:solidFill>
                  <a:schemeClr val="accent4"/>
                </a:solidFill>
                <a:latin typeface="+mj-lt"/>
              </a:rPr>
              <a:t>Die Herausforderungen für die Verwaltung sind vielfältig:</a:t>
            </a:r>
            <a:endParaRPr lang="de-DE" sz="2400" b="1" dirty="0">
              <a:solidFill>
                <a:schemeClr val="accent4"/>
              </a:solidFill>
              <a:latin typeface="+mj-lt"/>
            </a:endParaRPr>
          </a:p>
        </p:txBody>
      </p:sp>
      <p:grpSp>
        <p:nvGrpSpPr>
          <p:cNvPr id="31" name="Group 30">
            <a:extLst>
              <a:ext uri="{FF2B5EF4-FFF2-40B4-BE49-F238E27FC236}">
                <a16:creationId xmlns:a16="http://schemas.microsoft.com/office/drawing/2014/main" id="{C8B7A62B-0B7E-43E5-AE5E-CDAD12E6CFAF}"/>
              </a:ext>
            </a:extLst>
          </p:cNvPr>
          <p:cNvGrpSpPr>
            <a:grpSpLocks noChangeAspect="1"/>
          </p:cNvGrpSpPr>
          <p:nvPr/>
        </p:nvGrpSpPr>
        <p:grpSpPr>
          <a:xfrm>
            <a:off x="4805742" y="4806095"/>
            <a:ext cx="251853" cy="251853"/>
            <a:chOff x="1200454" y="1640628"/>
            <a:chExt cx="360000" cy="360000"/>
          </a:xfrm>
        </p:grpSpPr>
        <p:sp>
          <p:nvSpPr>
            <p:cNvPr id="32" name="SkipColor">
              <a:extLst>
                <a:ext uri="{FF2B5EF4-FFF2-40B4-BE49-F238E27FC236}">
                  <a16:creationId xmlns:a16="http://schemas.microsoft.com/office/drawing/2014/main" id="{5A0B84E6-DDDE-427D-9F6D-F1EF9F32E8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04054" y="1644228"/>
              <a:ext cx="352800" cy="352800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solidFill>
                <a:schemeClr val="accent4"/>
              </a:solidFill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easySymbol">
              <a:extLst>
                <a:ext uri="{FF2B5EF4-FFF2-40B4-BE49-F238E27FC236}">
                  <a16:creationId xmlns:a16="http://schemas.microsoft.com/office/drawing/2014/main" id="{FE15649B-225E-471F-9D13-C20ECCFB3217}"/>
                </a:ext>
              </a:extLst>
            </p:cNvPr>
            <p:cNvSpPr>
              <a:spLocks noChangeAspect="1"/>
            </p:cNvSpPr>
            <p:nvPr>
              <p:custDataLst>
                <p:tags r:id="rId6"/>
              </p:custDataLst>
            </p:nvPr>
          </p:nvSpPr>
          <p:spPr>
            <a:xfrm>
              <a:off x="1200454" y="1640628"/>
              <a:ext cx="360000" cy="360000"/>
            </a:xfrm>
            <a:custGeom>
              <a:avLst/>
              <a:gdLst>
                <a:gd name="connsiteX0" fmla="*/ 185607 w 612000"/>
                <a:gd name="connsiteY0" fmla="*/ 162057 h 612000"/>
                <a:gd name="connsiteX1" fmla="*/ 196140 w 612000"/>
                <a:gd name="connsiteY1" fmla="*/ 165628 h 612000"/>
                <a:gd name="connsiteX2" fmla="*/ 199595 w 612000"/>
                <a:gd name="connsiteY2" fmla="*/ 168450 h 612000"/>
                <a:gd name="connsiteX3" fmla="*/ 199595 w 612000"/>
                <a:gd name="connsiteY3" fmla="*/ 168450 h 612000"/>
                <a:gd name="connsiteX4" fmla="*/ 306000 w 612000"/>
                <a:gd name="connsiteY4" fmla="*/ 274856 h 612000"/>
                <a:gd name="connsiteX5" fmla="*/ 412405 w 612000"/>
                <a:gd name="connsiteY5" fmla="*/ 168450 h 612000"/>
                <a:gd name="connsiteX6" fmla="*/ 412406 w 612000"/>
                <a:gd name="connsiteY6" fmla="*/ 168450 h 612000"/>
                <a:gd name="connsiteX7" fmla="*/ 415860 w 612000"/>
                <a:gd name="connsiteY7" fmla="*/ 165628 h 612000"/>
                <a:gd name="connsiteX8" fmla="*/ 426394 w 612000"/>
                <a:gd name="connsiteY8" fmla="*/ 162057 h 612000"/>
                <a:gd name="connsiteX9" fmla="*/ 443550 w 612000"/>
                <a:gd name="connsiteY9" fmla="*/ 168450 h 612000"/>
                <a:gd name="connsiteX10" fmla="*/ 443550 w 612000"/>
                <a:gd name="connsiteY10" fmla="*/ 199595 h 612000"/>
                <a:gd name="connsiteX11" fmla="*/ 443550 w 612000"/>
                <a:gd name="connsiteY11" fmla="*/ 199595 h 612000"/>
                <a:gd name="connsiteX12" fmla="*/ 337145 w 612000"/>
                <a:gd name="connsiteY12" fmla="*/ 306000 h 612000"/>
                <a:gd name="connsiteX13" fmla="*/ 443550 w 612000"/>
                <a:gd name="connsiteY13" fmla="*/ 412405 h 612000"/>
                <a:gd name="connsiteX14" fmla="*/ 443550 w 612000"/>
                <a:gd name="connsiteY14" fmla="*/ 412406 h 612000"/>
                <a:gd name="connsiteX15" fmla="*/ 443550 w 612000"/>
                <a:gd name="connsiteY15" fmla="*/ 443550 h 612000"/>
                <a:gd name="connsiteX16" fmla="*/ 412405 w 612000"/>
                <a:gd name="connsiteY16" fmla="*/ 443550 h 612000"/>
                <a:gd name="connsiteX17" fmla="*/ 412405 w 612000"/>
                <a:gd name="connsiteY17" fmla="*/ 443550 h 612000"/>
                <a:gd name="connsiteX18" fmla="*/ 306000 w 612000"/>
                <a:gd name="connsiteY18" fmla="*/ 337145 h 612000"/>
                <a:gd name="connsiteX19" fmla="*/ 199595 w 612000"/>
                <a:gd name="connsiteY19" fmla="*/ 443550 h 612000"/>
                <a:gd name="connsiteX20" fmla="*/ 199595 w 612000"/>
                <a:gd name="connsiteY20" fmla="*/ 443550 h 612000"/>
                <a:gd name="connsiteX21" fmla="*/ 168450 w 612000"/>
                <a:gd name="connsiteY21" fmla="*/ 443550 h 612000"/>
                <a:gd name="connsiteX22" fmla="*/ 168450 w 612000"/>
                <a:gd name="connsiteY22" fmla="*/ 412406 h 612000"/>
                <a:gd name="connsiteX23" fmla="*/ 168450 w 612000"/>
                <a:gd name="connsiteY23" fmla="*/ 412405 h 612000"/>
                <a:gd name="connsiteX24" fmla="*/ 274856 w 612000"/>
                <a:gd name="connsiteY24" fmla="*/ 306000 h 612000"/>
                <a:gd name="connsiteX25" fmla="*/ 168450 w 612000"/>
                <a:gd name="connsiteY25" fmla="*/ 199595 h 612000"/>
                <a:gd name="connsiteX26" fmla="*/ 168450 w 612000"/>
                <a:gd name="connsiteY26" fmla="*/ 199595 h 612000"/>
                <a:gd name="connsiteX27" fmla="*/ 168450 w 612000"/>
                <a:gd name="connsiteY27" fmla="*/ 168450 h 612000"/>
                <a:gd name="connsiteX28" fmla="*/ 185607 w 612000"/>
                <a:gd name="connsiteY28" fmla="*/ 162057 h 612000"/>
                <a:gd name="connsiteX29" fmla="*/ 306000 w 612000"/>
                <a:gd name="connsiteY29" fmla="*/ 38250 h 612000"/>
                <a:gd name="connsiteX30" fmla="*/ 38250 w 612000"/>
                <a:gd name="connsiteY30" fmla="*/ 306000 h 612000"/>
                <a:gd name="connsiteX31" fmla="*/ 306000 w 612000"/>
                <a:gd name="connsiteY31" fmla="*/ 573750 h 612000"/>
                <a:gd name="connsiteX32" fmla="*/ 573750 w 612000"/>
                <a:gd name="connsiteY32" fmla="*/ 306000 h 612000"/>
                <a:gd name="connsiteX33" fmla="*/ 306000 w 612000"/>
                <a:gd name="connsiteY33" fmla="*/ 38250 h 612000"/>
                <a:gd name="connsiteX34" fmla="*/ 306000 w 612000"/>
                <a:gd name="connsiteY34" fmla="*/ 0 h 612000"/>
                <a:gd name="connsiteX35" fmla="*/ 612000 w 612000"/>
                <a:gd name="connsiteY35" fmla="*/ 306000 h 612000"/>
                <a:gd name="connsiteX36" fmla="*/ 306000 w 612000"/>
                <a:gd name="connsiteY36" fmla="*/ 612000 h 612000"/>
                <a:gd name="connsiteX37" fmla="*/ 0 w 612000"/>
                <a:gd name="connsiteY37" fmla="*/ 306000 h 612000"/>
                <a:gd name="connsiteX38" fmla="*/ 306000 w 612000"/>
                <a:gd name="connsiteY38" fmla="*/ 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12000" h="612000">
                  <a:moveTo>
                    <a:pt x="185607" y="162057"/>
                  </a:moveTo>
                  <a:cubicBezTo>
                    <a:pt x="189297" y="162321"/>
                    <a:pt x="192934" y="163512"/>
                    <a:pt x="196140" y="165628"/>
                  </a:cubicBezTo>
                  <a:lnTo>
                    <a:pt x="199595" y="168450"/>
                  </a:lnTo>
                  <a:lnTo>
                    <a:pt x="199595" y="168450"/>
                  </a:lnTo>
                  <a:lnTo>
                    <a:pt x="306000" y="274856"/>
                  </a:lnTo>
                  <a:lnTo>
                    <a:pt x="412405" y="168450"/>
                  </a:lnTo>
                  <a:lnTo>
                    <a:pt x="412406" y="168450"/>
                  </a:lnTo>
                  <a:lnTo>
                    <a:pt x="415860" y="165628"/>
                  </a:lnTo>
                  <a:cubicBezTo>
                    <a:pt x="419066" y="163512"/>
                    <a:pt x="422703" y="162321"/>
                    <a:pt x="426394" y="162057"/>
                  </a:cubicBezTo>
                  <a:cubicBezTo>
                    <a:pt x="432545" y="161616"/>
                    <a:pt x="438847" y="163747"/>
                    <a:pt x="443550" y="168450"/>
                  </a:cubicBezTo>
                  <a:cubicBezTo>
                    <a:pt x="452150" y="177051"/>
                    <a:pt x="452150" y="190994"/>
                    <a:pt x="443550" y="199595"/>
                  </a:cubicBezTo>
                  <a:lnTo>
                    <a:pt x="443550" y="199595"/>
                  </a:lnTo>
                  <a:lnTo>
                    <a:pt x="337145" y="306000"/>
                  </a:lnTo>
                  <a:lnTo>
                    <a:pt x="443550" y="412405"/>
                  </a:lnTo>
                  <a:lnTo>
                    <a:pt x="443550" y="412406"/>
                  </a:lnTo>
                  <a:cubicBezTo>
                    <a:pt x="452150" y="421006"/>
                    <a:pt x="452150" y="434950"/>
                    <a:pt x="443550" y="443550"/>
                  </a:cubicBezTo>
                  <a:cubicBezTo>
                    <a:pt x="434950" y="452150"/>
                    <a:pt x="421006" y="452150"/>
                    <a:pt x="412405" y="443550"/>
                  </a:cubicBezTo>
                  <a:lnTo>
                    <a:pt x="412405" y="443550"/>
                  </a:lnTo>
                  <a:lnTo>
                    <a:pt x="306000" y="337145"/>
                  </a:lnTo>
                  <a:lnTo>
                    <a:pt x="199595" y="443550"/>
                  </a:lnTo>
                  <a:lnTo>
                    <a:pt x="199595" y="443550"/>
                  </a:lnTo>
                  <a:cubicBezTo>
                    <a:pt x="190994" y="452150"/>
                    <a:pt x="177051" y="452150"/>
                    <a:pt x="168450" y="443550"/>
                  </a:cubicBezTo>
                  <a:cubicBezTo>
                    <a:pt x="159850" y="434950"/>
                    <a:pt x="159850" y="421006"/>
                    <a:pt x="168450" y="412406"/>
                  </a:cubicBezTo>
                  <a:lnTo>
                    <a:pt x="168450" y="412405"/>
                  </a:lnTo>
                  <a:lnTo>
                    <a:pt x="274856" y="306000"/>
                  </a:lnTo>
                  <a:lnTo>
                    <a:pt x="168450" y="199595"/>
                  </a:lnTo>
                  <a:lnTo>
                    <a:pt x="168450" y="199595"/>
                  </a:lnTo>
                  <a:cubicBezTo>
                    <a:pt x="159850" y="190994"/>
                    <a:pt x="159850" y="177051"/>
                    <a:pt x="168450" y="168450"/>
                  </a:cubicBezTo>
                  <a:cubicBezTo>
                    <a:pt x="173154" y="163747"/>
                    <a:pt x="179455" y="161616"/>
                    <a:pt x="185607" y="162057"/>
                  </a:cubicBezTo>
                  <a:close/>
                  <a:moveTo>
                    <a:pt x="306000" y="38250"/>
                  </a:moveTo>
                  <a:cubicBezTo>
                    <a:pt x="158126" y="38250"/>
                    <a:pt x="38250" y="158126"/>
                    <a:pt x="38250" y="306000"/>
                  </a:cubicBezTo>
                  <a:cubicBezTo>
                    <a:pt x="38250" y="453875"/>
                    <a:pt x="158126" y="573750"/>
                    <a:pt x="306000" y="573750"/>
                  </a:cubicBezTo>
                  <a:cubicBezTo>
                    <a:pt x="453875" y="573750"/>
                    <a:pt x="573750" y="453875"/>
                    <a:pt x="573750" y="306000"/>
                  </a:cubicBezTo>
                  <a:cubicBezTo>
                    <a:pt x="573750" y="158126"/>
                    <a:pt x="453875" y="38250"/>
                    <a:pt x="306000" y="38250"/>
                  </a:cubicBezTo>
                  <a:close/>
                  <a:moveTo>
                    <a:pt x="306000" y="0"/>
                  </a:moveTo>
                  <a:cubicBezTo>
                    <a:pt x="474999" y="0"/>
                    <a:pt x="612000" y="137001"/>
                    <a:pt x="612000" y="306000"/>
                  </a:cubicBez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lose/>
                </a:path>
              </a:pathLst>
            </a:custGeom>
            <a:solidFill>
              <a:srgbClr val="03878A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4" name="Group 30">
            <a:extLst>
              <a:ext uri="{FF2B5EF4-FFF2-40B4-BE49-F238E27FC236}">
                <a16:creationId xmlns:a16="http://schemas.microsoft.com/office/drawing/2014/main" id="{C8B7A62B-0B7E-43E5-AE5E-CDAD12E6CFAF}"/>
              </a:ext>
            </a:extLst>
          </p:cNvPr>
          <p:cNvGrpSpPr>
            <a:grpSpLocks noChangeAspect="1"/>
          </p:cNvGrpSpPr>
          <p:nvPr/>
        </p:nvGrpSpPr>
        <p:grpSpPr>
          <a:xfrm>
            <a:off x="4802374" y="5229200"/>
            <a:ext cx="251853" cy="251853"/>
            <a:chOff x="1200454" y="1640628"/>
            <a:chExt cx="360000" cy="360000"/>
          </a:xfrm>
        </p:grpSpPr>
        <p:sp>
          <p:nvSpPr>
            <p:cNvPr id="35" name="SkipColor">
              <a:extLst>
                <a:ext uri="{FF2B5EF4-FFF2-40B4-BE49-F238E27FC236}">
                  <a16:creationId xmlns:a16="http://schemas.microsoft.com/office/drawing/2014/main" id="{5A0B84E6-DDDE-427D-9F6D-F1EF9F32E8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04054" y="1644228"/>
              <a:ext cx="352800" cy="352800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solidFill>
                <a:schemeClr val="accent4"/>
              </a:solidFill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easySymbol">
              <a:extLst>
                <a:ext uri="{FF2B5EF4-FFF2-40B4-BE49-F238E27FC236}">
                  <a16:creationId xmlns:a16="http://schemas.microsoft.com/office/drawing/2014/main" id="{FE15649B-225E-471F-9D13-C20ECCFB3217}"/>
                </a:ext>
              </a:extLst>
            </p:cNvPr>
            <p:cNvSpPr>
              <a:spLocks noChangeAspect="1"/>
            </p:cNvSpPr>
            <p:nvPr>
              <p:custDataLst>
                <p:tags r:id="rId5"/>
              </p:custDataLst>
            </p:nvPr>
          </p:nvSpPr>
          <p:spPr>
            <a:xfrm>
              <a:off x="1200454" y="1640628"/>
              <a:ext cx="360000" cy="360000"/>
            </a:xfrm>
            <a:custGeom>
              <a:avLst/>
              <a:gdLst>
                <a:gd name="connsiteX0" fmla="*/ 185607 w 612000"/>
                <a:gd name="connsiteY0" fmla="*/ 162057 h 612000"/>
                <a:gd name="connsiteX1" fmla="*/ 196140 w 612000"/>
                <a:gd name="connsiteY1" fmla="*/ 165628 h 612000"/>
                <a:gd name="connsiteX2" fmla="*/ 199595 w 612000"/>
                <a:gd name="connsiteY2" fmla="*/ 168450 h 612000"/>
                <a:gd name="connsiteX3" fmla="*/ 199595 w 612000"/>
                <a:gd name="connsiteY3" fmla="*/ 168450 h 612000"/>
                <a:gd name="connsiteX4" fmla="*/ 306000 w 612000"/>
                <a:gd name="connsiteY4" fmla="*/ 274856 h 612000"/>
                <a:gd name="connsiteX5" fmla="*/ 412405 w 612000"/>
                <a:gd name="connsiteY5" fmla="*/ 168450 h 612000"/>
                <a:gd name="connsiteX6" fmla="*/ 412406 w 612000"/>
                <a:gd name="connsiteY6" fmla="*/ 168450 h 612000"/>
                <a:gd name="connsiteX7" fmla="*/ 415860 w 612000"/>
                <a:gd name="connsiteY7" fmla="*/ 165628 h 612000"/>
                <a:gd name="connsiteX8" fmla="*/ 426394 w 612000"/>
                <a:gd name="connsiteY8" fmla="*/ 162057 h 612000"/>
                <a:gd name="connsiteX9" fmla="*/ 443550 w 612000"/>
                <a:gd name="connsiteY9" fmla="*/ 168450 h 612000"/>
                <a:gd name="connsiteX10" fmla="*/ 443550 w 612000"/>
                <a:gd name="connsiteY10" fmla="*/ 199595 h 612000"/>
                <a:gd name="connsiteX11" fmla="*/ 443550 w 612000"/>
                <a:gd name="connsiteY11" fmla="*/ 199595 h 612000"/>
                <a:gd name="connsiteX12" fmla="*/ 337145 w 612000"/>
                <a:gd name="connsiteY12" fmla="*/ 306000 h 612000"/>
                <a:gd name="connsiteX13" fmla="*/ 443550 w 612000"/>
                <a:gd name="connsiteY13" fmla="*/ 412405 h 612000"/>
                <a:gd name="connsiteX14" fmla="*/ 443550 w 612000"/>
                <a:gd name="connsiteY14" fmla="*/ 412406 h 612000"/>
                <a:gd name="connsiteX15" fmla="*/ 443550 w 612000"/>
                <a:gd name="connsiteY15" fmla="*/ 443550 h 612000"/>
                <a:gd name="connsiteX16" fmla="*/ 412405 w 612000"/>
                <a:gd name="connsiteY16" fmla="*/ 443550 h 612000"/>
                <a:gd name="connsiteX17" fmla="*/ 412405 w 612000"/>
                <a:gd name="connsiteY17" fmla="*/ 443550 h 612000"/>
                <a:gd name="connsiteX18" fmla="*/ 306000 w 612000"/>
                <a:gd name="connsiteY18" fmla="*/ 337145 h 612000"/>
                <a:gd name="connsiteX19" fmla="*/ 199595 w 612000"/>
                <a:gd name="connsiteY19" fmla="*/ 443550 h 612000"/>
                <a:gd name="connsiteX20" fmla="*/ 199595 w 612000"/>
                <a:gd name="connsiteY20" fmla="*/ 443550 h 612000"/>
                <a:gd name="connsiteX21" fmla="*/ 168450 w 612000"/>
                <a:gd name="connsiteY21" fmla="*/ 443550 h 612000"/>
                <a:gd name="connsiteX22" fmla="*/ 168450 w 612000"/>
                <a:gd name="connsiteY22" fmla="*/ 412406 h 612000"/>
                <a:gd name="connsiteX23" fmla="*/ 168450 w 612000"/>
                <a:gd name="connsiteY23" fmla="*/ 412405 h 612000"/>
                <a:gd name="connsiteX24" fmla="*/ 274856 w 612000"/>
                <a:gd name="connsiteY24" fmla="*/ 306000 h 612000"/>
                <a:gd name="connsiteX25" fmla="*/ 168450 w 612000"/>
                <a:gd name="connsiteY25" fmla="*/ 199595 h 612000"/>
                <a:gd name="connsiteX26" fmla="*/ 168450 w 612000"/>
                <a:gd name="connsiteY26" fmla="*/ 199595 h 612000"/>
                <a:gd name="connsiteX27" fmla="*/ 168450 w 612000"/>
                <a:gd name="connsiteY27" fmla="*/ 168450 h 612000"/>
                <a:gd name="connsiteX28" fmla="*/ 185607 w 612000"/>
                <a:gd name="connsiteY28" fmla="*/ 162057 h 612000"/>
                <a:gd name="connsiteX29" fmla="*/ 306000 w 612000"/>
                <a:gd name="connsiteY29" fmla="*/ 38250 h 612000"/>
                <a:gd name="connsiteX30" fmla="*/ 38250 w 612000"/>
                <a:gd name="connsiteY30" fmla="*/ 306000 h 612000"/>
                <a:gd name="connsiteX31" fmla="*/ 306000 w 612000"/>
                <a:gd name="connsiteY31" fmla="*/ 573750 h 612000"/>
                <a:gd name="connsiteX32" fmla="*/ 573750 w 612000"/>
                <a:gd name="connsiteY32" fmla="*/ 306000 h 612000"/>
                <a:gd name="connsiteX33" fmla="*/ 306000 w 612000"/>
                <a:gd name="connsiteY33" fmla="*/ 38250 h 612000"/>
                <a:gd name="connsiteX34" fmla="*/ 306000 w 612000"/>
                <a:gd name="connsiteY34" fmla="*/ 0 h 612000"/>
                <a:gd name="connsiteX35" fmla="*/ 612000 w 612000"/>
                <a:gd name="connsiteY35" fmla="*/ 306000 h 612000"/>
                <a:gd name="connsiteX36" fmla="*/ 306000 w 612000"/>
                <a:gd name="connsiteY36" fmla="*/ 612000 h 612000"/>
                <a:gd name="connsiteX37" fmla="*/ 0 w 612000"/>
                <a:gd name="connsiteY37" fmla="*/ 306000 h 612000"/>
                <a:gd name="connsiteX38" fmla="*/ 306000 w 612000"/>
                <a:gd name="connsiteY38" fmla="*/ 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12000" h="612000">
                  <a:moveTo>
                    <a:pt x="185607" y="162057"/>
                  </a:moveTo>
                  <a:cubicBezTo>
                    <a:pt x="189297" y="162321"/>
                    <a:pt x="192934" y="163512"/>
                    <a:pt x="196140" y="165628"/>
                  </a:cubicBezTo>
                  <a:lnTo>
                    <a:pt x="199595" y="168450"/>
                  </a:lnTo>
                  <a:lnTo>
                    <a:pt x="199595" y="168450"/>
                  </a:lnTo>
                  <a:lnTo>
                    <a:pt x="306000" y="274856"/>
                  </a:lnTo>
                  <a:lnTo>
                    <a:pt x="412405" y="168450"/>
                  </a:lnTo>
                  <a:lnTo>
                    <a:pt x="412406" y="168450"/>
                  </a:lnTo>
                  <a:lnTo>
                    <a:pt x="415860" y="165628"/>
                  </a:lnTo>
                  <a:cubicBezTo>
                    <a:pt x="419066" y="163512"/>
                    <a:pt x="422703" y="162321"/>
                    <a:pt x="426394" y="162057"/>
                  </a:cubicBezTo>
                  <a:cubicBezTo>
                    <a:pt x="432545" y="161616"/>
                    <a:pt x="438847" y="163747"/>
                    <a:pt x="443550" y="168450"/>
                  </a:cubicBezTo>
                  <a:cubicBezTo>
                    <a:pt x="452150" y="177051"/>
                    <a:pt x="452150" y="190994"/>
                    <a:pt x="443550" y="199595"/>
                  </a:cubicBezTo>
                  <a:lnTo>
                    <a:pt x="443550" y="199595"/>
                  </a:lnTo>
                  <a:lnTo>
                    <a:pt x="337145" y="306000"/>
                  </a:lnTo>
                  <a:lnTo>
                    <a:pt x="443550" y="412405"/>
                  </a:lnTo>
                  <a:lnTo>
                    <a:pt x="443550" y="412406"/>
                  </a:lnTo>
                  <a:cubicBezTo>
                    <a:pt x="452150" y="421006"/>
                    <a:pt x="452150" y="434950"/>
                    <a:pt x="443550" y="443550"/>
                  </a:cubicBezTo>
                  <a:cubicBezTo>
                    <a:pt x="434950" y="452150"/>
                    <a:pt x="421006" y="452150"/>
                    <a:pt x="412405" y="443550"/>
                  </a:cubicBezTo>
                  <a:lnTo>
                    <a:pt x="412405" y="443550"/>
                  </a:lnTo>
                  <a:lnTo>
                    <a:pt x="306000" y="337145"/>
                  </a:lnTo>
                  <a:lnTo>
                    <a:pt x="199595" y="443550"/>
                  </a:lnTo>
                  <a:lnTo>
                    <a:pt x="199595" y="443550"/>
                  </a:lnTo>
                  <a:cubicBezTo>
                    <a:pt x="190994" y="452150"/>
                    <a:pt x="177051" y="452150"/>
                    <a:pt x="168450" y="443550"/>
                  </a:cubicBezTo>
                  <a:cubicBezTo>
                    <a:pt x="159850" y="434950"/>
                    <a:pt x="159850" y="421006"/>
                    <a:pt x="168450" y="412406"/>
                  </a:cubicBezTo>
                  <a:lnTo>
                    <a:pt x="168450" y="412405"/>
                  </a:lnTo>
                  <a:lnTo>
                    <a:pt x="274856" y="306000"/>
                  </a:lnTo>
                  <a:lnTo>
                    <a:pt x="168450" y="199595"/>
                  </a:lnTo>
                  <a:lnTo>
                    <a:pt x="168450" y="199595"/>
                  </a:lnTo>
                  <a:cubicBezTo>
                    <a:pt x="159850" y="190994"/>
                    <a:pt x="159850" y="177051"/>
                    <a:pt x="168450" y="168450"/>
                  </a:cubicBezTo>
                  <a:cubicBezTo>
                    <a:pt x="173154" y="163747"/>
                    <a:pt x="179455" y="161616"/>
                    <a:pt x="185607" y="162057"/>
                  </a:cubicBezTo>
                  <a:close/>
                  <a:moveTo>
                    <a:pt x="306000" y="38250"/>
                  </a:moveTo>
                  <a:cubicBezTo>
                    <a:pt x="158126" y="38250"/>
                    <a:pt x="38250" y="158126"/>
                    <a:pt x="38250" y="306000"/>
                  </a:cubicBezTo>
                  <a:cubicBezTo>
                    <a:pt x="38250" y="453875"/>
                    <a:pt x="158126" y="573750"/>
                    <a:pt x="306000" y="573750"/>
                  </a:cubicBezTo>
                  <a:cubicBezTo>
                    <a:pt x="453875" y="573750"/>
                    <a:pt x="573750" y="453875"/>
                    <a:pt x="573750" y="306000"/>
                  </a:cubicBezTo>
                  <a:cubicBezTo>
                    <a:pt x="573750" y="158126"/>
                    <a:pt x="453875" y="38250"/>
                    <a:pt x="306000" y="38250"/>
                  </a:cubicBezTo>
                  <a:close/>
                  <a:moveTo>
                    <a:pt x="306000" y="0"/>
                  </a:moveTo>
                  <a:cubicBezTo>
                    <a:pt x="474999" y="0"/>
                    <a:pt x="612000" y="137001"/>
                    <a:pt x="612000" y="306000"/>
                  </a:cubicBez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lose/>
                </a:path>
              </a:pathLst>
            </a:custGeom>
            <a:solidFill>
              <a:srgbClr val="03878A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37" name="Group 30">
            <a:extLst>
              <a:ext uri="{FF2B5EF4-FFF2-40B4-BE49-F238E27FC236}">
                <a16:creationId xmlns:a16="http://schemas.microsoft.com/office/drawing/2014/main" id="{C8B7A62B-0B7E-43E5-AE5E-CDAD12E6CFAF}"/>
              </a:ext>
            </a:extLst>
          </p:cNvPr>
          <p:cNvGrpSpPr>
            <a:grpSpLocks noChangeAspect="1"/>
          </p:cNvGrpSpPr>
          <p:nvPr/>
        </p:nvGrpSpPr>
        <p:grpSpPr>
          <a:xfrm>
            <a:off x="4802374" y="5661211"/>
            <a:ext cx="251853" cy="251853"/>
            <a:chOff x="1200454" y="1640628"/>
            <a:chExt cx="360000" cy="360000"/>
          </a:xfrm>
        </p:grpSpPr>
        <p:sp>
          <p:nvSpPr>
            <p:cNvPr id="38" name="SkipColor">
              <a:extLst>
                <a:ext uri="{FF2B5EF4-FFF2-40B4-BE49-F238E27FC236}">
                  <a16:creationId xmlns:a16="http://schemas.microsoft.com/office/drawing/2014/main" id="{5A0B84E6-DDDE-427D-9F6D-F1EF9F32E8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04054" y="1644228"/>
              <a:ext cx="352800" cy="352800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solidFill>
                <a:schemeClr val="accent4"/>
              </a:solidFill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easySymbol">
              <a:extLst>
                <a:ext uri="{FF2B5EF4-FFF2-40B4-BE49-F238E27FC236}">
                  <a16:creationId xmlns:a16="http://schemas.microsoft.com/office/drawing/2014/main" id="{FE15649B-225E-471F-9D13-C20ECCFB3217}"/>
                </a:ext>
              </a:extLst>
            </p:cNvPr>
            <p:cNvSpPr>
              <a:spLocks noChangeAspect="1"/>
            </p:cNvSpPr>
            <p:nvPr>
              <p:custDataLst>
                <p:tags r:id="rId4"/>
              </p:custDataLst>
            </p:nvPr>
          </p:nvSpPr>
          <p:spPr>
            <a:xfrm>
              <a:off x="1200454" y="1640628"/>
              <a:ext cx="360000" cy="360000"/>
            </a:xfrm>
            <a:custGeom>
              <a:avLst/>
              <a:gdLst>
                <a:gd name="connsiteX0" fmla="*/ 185607 w 612000"/>
                <a:gd name="connsiteY0" fmla="*/ 162057 h 612000"/>
                <a:gd name="connsiteX1" fmla="*/ 196140 w 612000"/>
                <a:gd name="connsiteY1" fmla="*/ 165628 h 612000"/>
                <a:gd name="connsiteX2" fmla="*/ 199595 w 612000"/>
                <a:gd name="connsiteY2" fmla="*/ 168450 h 612000"/>
                <a:gd name="connsiteX3" fmla="*/ 199595 w 612000"/>
                <a:gd name="connsiteY3" fmla="*/ 168450 h 612000"/>
                <a:gd name="connsiteX4" fmla="*/ 306000 w 612000"/>
                <a:gd name="connsiteY4" fmla="*/ 274856 h 612000"/>
                <a:gd name="connsiteX5" fmla="*/ 412405 w 612000"/>
                <a:gd name="connsiteY5" fmla="*/ 168450 h 612000"/>
                <a:gd name="connsiteX6" fmla="*/ 412406 w 612000"/>
                <a:gd name="connsiteY6" fmla="*/ 168450 h 612000"/>
                <a:gd name="connsiteX7" fmla="*/ 415860 w 612000"/>
                <a:gd name="connsiteY7" fmla="*/ 165628 h 612000"/>
                <a:gd name="connsiteX8" fmla="*/ 426394 w 612000"/>
                <a:gd name="connsiteY8" fmla="*/ 162057 h 612000"/>
                <a:gd name="connsiteX9" fmla="*/ 443550 w 612000"/>
                <a:gd name="connsiteY9" fmla="*/ 168450 h 612000"/>
                <a:gd name="connsiteX10" fmla="*/ 443550 w 612000"/>
                <a:gd name="connsiteY10" fmla="*/ 199595 h 612000"/>
                <a:gd name="connsiteX11" fmla="*/ 443550 w 612000"/>
                <a:gd name="connsiteY11" fmla="*/ 199595 h 612000"/>
                <a:gd name="connsiteX12" fmla="*/ 337145 w 612000"/>
                <a:gd name="connsiteY12" fmla="*/ 306000 h 612000"/>
                <a:gd name="connsiteX13" fmla="*/ 443550 w 612000"/>
                <a:gd name="connsiteY13" fmla="*/ 412405 h 612000"/>
                <a:gd name="connsiteX14" fmla="*/ 443550 w 612000"/>
                <a:gd name="connsiteY14" fmla="*/ 412406 h 612000"/>
                <a:gd name="connsiteX15" fmla="*/ 443550 w 612000"/>
                <a:gd name="connsiteY15" fmla="*/ 443550 h 612000"/>
                <a:gd name="connsiteX16" fmla="*/ 412405 w 612000"/>
                <a:gd name="connsiteY16" fmla="*/ 443550 h 612000"/>
                <a:gd name="connsiteX17" fmla="*/ 412405 w 612000"/>
                <a:gd name="connsiteY17" fmla="*/ 443550 h 612000"/>
                <a:gd name="connsiteX18" fmla="*/ 306000 w 612000"/>
                <a:gd name="connsiteY18" fmla="*/ 337145 h 612000"/>
                <a:gd name="connsiteX19" fmla="*/ 199595 w 612000"/>
                <a:gd name="connsiteY19" fmla="*/ 443550 h 612000"/>
                <a:gd name="connsiteX20" fmla="*/ 199595 w 612000"/>
                <a:gd name="connsiteY20" fmla="*/ 443550 h 612000"/>
                <a:gd name="connsiteX21" fmla="*/ 168450 w 612000"/>
                <a:gd name="connsiteY21" fmla="*/ 443550 h 612000"/>
                <a:gd name="connsiteX22" fmla="*/ 168450 w 612000"/>
                <a:gd name="connsiteY22" fmla="*/ 412406 h 612000"/>
                <a:gd name="connsiteX23" fmla="*/ 168450 w 612000"/>
                <a:gd name="connsiteY23" fmla="*/ 412405 h 612000"/>
                <a:gd name="connsiteX24" fmla="*/ 274856 w 612000"/>
                <a:gd name="connsiteY24" fmla="*/ 306000 h 612000"/>
                <a:gd name="connsiteX25" fmla="*/ 168450 w 612000"/>
                <a:gd name="connsiteY25" fmla="*/ 199595 h 612000"/>
                <a:gd name="connsiteX26" fmla="*/ 168450 w 612000"/>
                <a:gd name="connsiteY26" fmla="*/ 199595 h 612000"/>
                <a:gd name="connsiteX27" fmla="*/ 168450 w 612000"/>
                <a:gd name="connsiteY27" fmla="*/ 168450 h 612000"/>
                <a:gd name="connsiteX28" fmla="*/ 185607 w 612000"/>
                <a:gd name="connsiteY28" fmla="*/ 162057 h 612000"/>
                <a:gd name="connsiteX29" fmla="*/ 306000 w 612000"/>
                <a:gd name="connsiteY29" fmla="*/ 38250 h 612000"/>
                <a:gd name="connsiteX30" fmla="*/ 38250 w 612000"/>
                <a:gd name="connsiteY30" fmla="*/ 306000 h 612000"/>
                <a:gd name="connsiteX31" fmla="*/ 306000 w 612000"/>
                <a:gd name="connsiteY31" fmla="*/ 573750 h 612000"/>
                <a:gd name="connsiteX32" fmla="*/ 573750 w 612000"/>
                <a:gd name="connsiteY32" fmla="*/ 306000 h 612000"/>
                <a:gd name="connsiteX33" fmla="*/ 306000 w 612000"/>
                <a:gd name="connsiteY33" fmla="*/ 38250 h 612000"/>
                <a:gd name="connsiteX34" fmla="*/ 306000 w 612000"/>
                <a:gd name="connsiteY34" fmla="*/ 0 h 612000"/>
                <a:gd name="connsiteX35" fmla="*/ 612000 w 612000"/>
                <a:gd name="connsiteY35" fmla="*/ 306000 h 612000"/>
                <a:gd name="connsiteX36" fmla="*/ 306000 w 612000"/>
                <a:gd name="connsiteY36" fmla="*/ 612000 h 612000"/>
                <a:gd name="connsiteX37" fmla="*/ 0 w 612000"/>
                <a:gd name="connsiteY37" fmla="*/ 306000 h 612000"/>
                <a:gd name="connsiteX38" fmla="*/ 306000 w 612000"/>
                <a:gd name="connsiteY38" fmla="*/ 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12000" h="612000">
                  <a:moveTo>
                    <a:pt x="185607" y="162057"/>
                  </a:moveTo>
                  <a:cubicBezTo>
                    <a:pt x="189297" y="162321"/>
                    <a:pt x="192934" y="163512"/>
                    <a:pt x="196140" y="165628"/>
                  </a:cubicBezTo>
                  <a:lnTo>
                    <a:pt x="199595" y="168450"/>
                  </a:lnTo>
                  <a:lnTo>
                    <a:pt x="199595" y="168450"/>
                  </a:lnTo>
                  <a:lnTo>
                    <a:pt x="306000" y="274856"/>
                  </a:lnTo>
                  <a:lnTo>
                    <a:pt x="412405" y="168450"/>
                  </a:lnTo>
                  <a:lnTo>
                    <a:pt x="412406" y="168450"/>
                  </a:lnTo>
                  <a:lnTo>
                    <a:pt x="415860" y="165628"/>
                  </a:lnTo>
                  <a:cubicBezTo>
                    <a:pt x="419066" y="163512"/>
                    <a:pt x="422703" y="162321"/>
                    <a:pt x="426394" y="162057"/>
                  </a:cubicBezTo>
                  <a:cubicBezTo>
                    <a:pt x="432545" y="161616"/>
                    <a:pt x="438847" y="163747"/>
                    <a:pt x="443550" y="168450"/>
                  </a:cubicBezTo>
                  <a:cubicBezTo>
                    <a:pt x="452150" y="177051"/>
                    <a:pt x="452150" y="190994"/>
                    <a:pt x="443550" y="199595"/>
                  </a:cubicBezTo>
                  <a:lnTo>
                    <a:pt x="443550" y="199595"/>
                  </a:lnTo>
                  <a:lnTo>
                    <a:pt x="337145" y="306000"/>
                  </a:lnTo>
                  <a:lnTo>
                    <a:pt x="443550" y="412405"/>
                  </a:lnTo>
                  <a:lnTo>
                    <a:pt x="443550" y="412406"/>
                  </a:lnTo>
                  <a:cubicBezTo>
                    <a:pt x="452150" y="421006"/>
                    <a:pt x="452150" y="434950"/>
                    <a:pt x="443550" y="443550"/>
                  </a:cubicBezTo>
                  <a:cubicBezTo>
                    <a:pt x="434950" y="452150"/>
                    <a:pt x="421006" y="452150"/>
                    <a:pt x="412405" y="443550"/>
                  </a:cubicBezTo>
                  <a:lnTo>
                    <a:pt x="412405" y="443550"/>
                  </a:lnTo>
                  <a:lnTo>
                    <a:pt x="306000" y="337145"/>
                  </a:lnTo>
                  <a:lnTo>
                    <a:pt x="199595" y="443550"/>
                  </a:lnTo>
                  <a:lnTo>
                    <a:pt x="199595" y="443550"/>
                  </a:lnTo>
                  <a:cubicBezTo>
                    <a:pt x="190994" y="452150"/>
                    <a:pt x="177051" y="452150"/>
                    <a:pt x="168450" y="443550"/>
                  </a:cubicBezTo>
                  <a:cubicBezTo>
                    <a:pt x="159850" y="434950"/>
                    <a:pt x="159850" y="421006"/>
                    <a:pt x="168450" y="412406"/>
                  </a:cubicBezTo>
                  <a:lnTo>
                    <a:pt x="168450" y="412405"/>
                  </a:lnTo>
                  <a:lnTo>
                    <a:pt x="274856" y="306000"/>
                  </a:lnTo>
                  <a:lnTo>
                    <a:pt x="168450" y="199595"/>
                  </a:lnTo>
                  <a:lnTo>
                    <a:pt x="168450" y="199595"/>
                  </a:lnTo>
                  <a:cubicBezTo>
                    <a:pt x="159850" y="190994"/>
                    <a:pt x="159850" y="177051"/>
                    <a:pt x="168450" y="168450"/>
                  </a:cubicBezTo>
                  <a:cubicBezTo>
                    <a:pt x="173154" y="163747"/>
                    <a:pt x="179455" y="161616"/>
                    <a:pt x="185607" y="162057"/>
                  </a:cubicBezTo>
                  <a:close/>
                  <a:moveTo>
                    <a:pt x="306000" y="38250"/>
                  </a:moveTo>
                  <a:cubicBezTo>
                    <a:pt x="158126" y="38250"/>
                    <a:pt x="38250" y="158126"/>
                    <a:pt x="38250" y="306000"/>
                  </a:cubicBezTo>
                  <a:cubicBezTo>
                    <a:pt x="38250" y="453875"/>
                    <a:pt x="158126" y="573750"/>
                    <a:pt x="306000" y="573750"/>
                  </a:cubicBezTo>
                  <a:cubicBezTo>
                    <a:pt x="453875" y="573750"/>
                    <a:pt x="573750" y="453875"/>
                    <a:pt x="573750" y="306000"/>
                  </a:cubicBezTo>
                  <a:cubicBezTo>
                    <a:pt x="573750" y="158126"/>
                    <a:pt x="453875" y="38250"/>
                    <a:pt x="306000" y="38250"/>
                  </a:cubicBezTo>
                  <a:close/>
                  <a:moveTo>
                    <a:pt x="306000" y="0"/>
                  </a:moveTo>
                  <a:cubicBezTo>
                    <a:pt x="474999" y="0"/>
                    <a:pt x="612000" y="137001"/>
                    <a:pt x="612000" y="306000"/>
                  </a:cubicBez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lose/>
                </a:path>
              </a:pathLst>
            </a:custGeom>
            <a:solidFill>
              <a:srgbClr val="03878A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0" name="Group 30">
            <a:extLst>
              <a:ext uri="{FF2B5EF4-FFF2-40B4-BE49-F238E27FC236}">
                <a16:creationId xmlns:a16="http://schemas.microsoft.com/office/drawing/2014/main" id="{C8B7A62B-0B7E-43E5-AE5E-CDAD12E6CFAF}"/>
              </a:ext>
            </a:extLst>
          </p:cNvPr>
          <p:cNvGrpSpPr>
            <a:grpSpLocks noChangeAspect="1"/>
          </p:cNvGrpSpPr>
          <p:nvPr/>
        </p:nvGrpSpPr>
        <p:grpSpPr>
          <a:xfrm>
            <a:off x="4799856" y="6093222"/>
            <a:ext cx="251853" cy="251853"/>
            <a:chOff x="1200454" y="1640628"/>
            <a:chExt cx="360000" cy="360000"/>
          </a:xfrm>
        </p:grpSpPr>
        <p:sp>
          <p:nvSpPr>
            <p:cNvPr id="41" name="SkipColor">
              <a:extLst>
                <a:ext uri="{FF2B5EF4-FFF2-40B4-BE49-F238E27FC236}">
                  <a16:creationId xmlns:a16="http://schemas.microsoft.com/office/drawing/2014/main" id="{5A0B84E6-DDDE-427D-9F6D-F1EF9F32E80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04054" y="1644228"/>
              <a:ext cx="352800" cy="352800"/>
            </a:xfrm>
            <a:prstGeom prst="ellipse">
              <a:avLst/>
            </a:prstGeom>
            <a:solidFill>
              <a:srgbClr val="FFFFFF"/>
            </a:solidFill>
            <a:ln w="6350" cap="flat" cmpd="sng" algn="ctr">
              <a:solidFill>
                <a:schemeClr val="accent4"/>
              </a:solidFill>
              <a:prstDash val="solid"/>
              <a:miter lim="800000"/>
            </a:ln>
            <a:effectLst/>
            <a:ex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easySymbol">
              <a:extLst>
                <a:ext uri="{FF2B5EF4-FFF2-40B4-BE49-F238E27FC236}">
                  <a16:creationId xmlns:a16="http://schemas.microsoft.com/office/drawing/2014/main" id="{FE15649B-225E-471F-9D13-C20ECCFB3217}"/>
                </a:ext>
              </a:extLst>
            </p:cNvPr>
            <p:cNvSpPr>
              <a:spLocks noChangeAspect="1"/>
            </p:cNvSpPr>
            <p:nvPr>
              <p:custDataLst>
                <p:tags r:id="rId3"/>
              </p:custDataLst>
            </p:nvPr>
          </p:nvSpPr>
          <p:spPr>
            <a:xfrm>
              <a:off x="1200454" y="1640628"/>
              <a:ext cx="360000" cy="360000"/>
            </a:xfrm>
            <a:custGeom>
              <a:avLst/>
              <a:gdLst>
                <a:gd name="connsiteX0" fmla="*/ 185607 w 612000"/>
                <a:gd name="connsiteY0" fmla="*/ 162057 h 612000"/>
                <a:gd name="connsiteX1" fmla="*/ 196140 w 612000"/>
                <a:gd name="connsiteY1" fmla="*/ 165628 h 612000"/>
                <a:gd name="connsiteX2" fmla="*/ 199595 w 612000"/>
                <a:gd name="connsiteY2" fmla="*/ 168450 h 612000"/>
                <a:gd name="connsiteX3" fmla="*/ 199595 w 612000"/>
                <a:gd name="connsiteY3" fmla="*/ 168450 h 612000"/>
                <a:gd name="connsiteX4" fmla="*/ 306000 w 612000"/>
                <a:gd name="connsiteY4" fmla="*/ 274856 h 612000"/>
                <a:gd name="connsiteX5" fmla="*/ 412405 w 612000"/>
                <a:gd name="connsiteY5" fmla="*/ 168450 h 612000"/>
                <a:gd name="connsiteX6" fmla="*/ 412406 w 612000"/>
                <a:gd name="connsiteY6" fmla="*/ 168450 h 612000"/>
                <a:gd name="connsiteX7" fmla="*/ 415860 w 612000"/>
                <a:gd name="connsiteY7" fmla="*/ 165628 h 612000"/>
                <a:gd name="connsiteX8" fmla="*/ 426394 w 612000"/>
                <a:gd name="connsiteY8" fmla="*/ 162057 h 612000"/>
                <a:gd name="connsiteX9" fmla="*/ 443550 w 612000"/>
                <a:gd name="connsiteY9" fmla="*/ 168450 h 612000"/>
                <a:gd name="connsiteX10" fmla="*/ 443550 w 612000"/>
                <a:gd name="connsiteY10" fmla="*/ 199595 h 612000"/>
                <a:gd name="connsiteX11" fmla="*/ 443550 w 612000"/>
                <a:gd name="connsiteY11" fmla="*/ 199595 h 612000"/>
                <a:gd name="connsiteX12" fmla="*/ 337145 w 612000"/>
                <a:gd name="connsiteY12" fmla="*/ 306000 h 612000"/>
                <a:gd name="connsiteX13" fmla="*/ 443550 w 612000"/>
                <a:gd name="connsiteY13" fmla="*/ 412405 h 612000"/>
                <a:gd name="connsiteX14" fmla="*/ 443550 w 612000"/>
                <a:gd name="connsiteY14" fmla="*/ 412406 h 612000"/>
                <a:gd name="connsiteX15" fmla="*/ 443550 w 612000"/>
                <a:gd name="connsiteY15" fmla="*/ 443550 h 612000"/>
                <a:gd name="connsiteX16" fmla="*/ 412405 w 612000"/>
                <a:gd name="connsiteY16" fmla="*/ 443550 h 612000"/>
                <a:gd name="connsiteX17" fmla="*/ 412405 w 612000"/>
                <a:gd name="connsiteY17" fmla="*/ 443550 h 612000"/>
                <a:gd name="connsiteX18" fmla="*/ 306000 w 612000"/>
                <a:gd name="connsiteY18" fmla="*/ 337145 h 612000"/>
                <a:gd name="connsiteX19" fmla="*/ 199595 w 612000"/>
                <a:gd name="connsiteY19" fmla="*/ 443550 h 612000"/>
                <a:gd name="connsiteX20" fmla="*/ 199595 w 612000"/>
                <a:gd name="connsiteY20" fmla="*/ 443550 h 612000"/>
                <a:gd name="connsiteX21" fmla="*/ 168450 w 612000"/>
                <a:gd name="connsiteY21" fmla="*/ 443550 h 612000"/>
                <a:gd name="connsiteX22" fmla="*/ 168450 w 612000"/>
                <a:gd name="connsiteY22" fmla="*/ 412406 h 612000"/>
                <a:gd name="connsiteX23" fmla="*/ 168450 w 612000"/>
                <a:gd name="connsiteY23" fmla="*/ 412405 h 612000"/>
                <a:gd name="connsiteX24" fmla="*/ 274856 w 612000"/>
                <a:gd name="connsiteY24" fmla="*/ 306000 h 612000"/>
                <a:gd name="connsiteX25" fmla="*/ 168450 w 612000"/>
                <a:gd name="connsiteY25" fmla="*/ 199595 h 612000"/>
                <a:gd name="connsiteX26" fmla="*/ 168450 w 612000"/>
                <a:gd name="connsiteY26" fmla="*/ 199595 h 612000"/>
                <a:gd name="connsiteX27" fmla="*/ 168450 w 612000"/>
                <a:gd name="connsiteY27" fmla="*/ 168450 h 612000"/>
                <a:gd name="connsiteX28" fmla="*/ 185607 w 612000"/>
                <a:gd name="connsiteY28" fmla="*/ 162057 h 612000"/>
                <a:gd name="connsiteX29" fmla="*/ 306000 w 612000"/>
                <a:gd name="connsiteY29" fmla="*/ 38250 h 612000"/>
                <a:gd name="connsiteX30" fmla="*/ 38250 w 612000"/>
                <a:gd name="connsiteY30" fmla="*/ 306000 h 612000"/>
                <a:gd name="connsiteX31" fmla="*/ 306000 w 612000"/>
                <a:gd name="connsiteY31" fmla="*/ 573750 h 612000"/>
                <a:gd name="connsiteX32" fmla="*/ 573750 w 612000"/>
                <a:gd name="connsiteY32" fmla="*/ 306000 h 612000"/>
                <a:gd name="connsiteX33" fmla="*/ 306000 w 612000"/>
                <a:gd name="connsiteY33" fmla="*/ 38250 h 612000"/>
                <a:gd name="connsiteX34" fmla="*/ 306000 w 612000"/>
                <a:gd name="connsiteY34" fmla="*/ 0 h 612000"/>
                <a:gd name="connsiteX35" fmla="*/ 612000 w 612000"/>
                <a:gd name="connsiteY35" fmla="*/ 306000 h 612000"/>
                <a:gd name="connsiteX36" fmla="*/ 306000 w 612000"/>
                <a:gd name="connsiteY36" fmla="*/ 612000 h 612000"/>
                <a:gd name="connsiteX37" fmla="*/ 0 w 612000"/>
                <a:gd name="connsiteY37" fmla="*/ 306000 h 612000"/>
                <a:gd name="connsiteX38" fmla="*/ 306000 w 612000"/>
                <a:gd name="connsiteY38" fmla="*/ 0 h 612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612000" h="612000">
                  <a:moveTo>
                    <a:pt x="185607" y="162057"/>
                  </a:moveTo>
                  <a:cubicBezTo>
                    <a:pt x="189297" y="162321"/>
                    <a:pt x="192934" y="163512"/>
                    <a:pt x="196140" y="165628"/>
                  </a:cubicBezTo>
                  <a:lnTo>
                    <a:pt x="199595" y="168450"/>
                  </a:lnTo>
                  <a:lnTo>
                    <a:pt x="199595" y="168450"/>
                  </a:lnTo>
                  <a:lnTo>
                    <a:pt x="306000" y="274856"/>
                  </a:lnTo>
                  <a:lnTo>
                    <a:pt x="412405" y="168450"/>
                  </a:lnTo>
                  <a:lnTo>
                    <a:pt x="412406" y="168450"/>
                  </a:lnTo>
                  <a:lnTo>
                    <a:pt x="415860" y="165628"/>
                  </a:lnTo>
                  <a:cubicBezTo>
                    <a:pt x="419066" y="163512"/>
                    <a:pt x="422703" y="162321"/>
                    <a:pt x="426394" y="162057"/>
                  </a:cubicBezTo>
                  <a:cubicBezTo>
                    <a:pt x="432545" y="161616"/>
                    <a:pt x="438847" y="163747"/>
                    <a:pt x="443550" y="168450"/>
                  </a:cubicBezTo>
                  <a:cubicBezTo>
                    <a:pt x="452150" y="177051"/>
                    <a:pt x="452150" y="190994"/>
                    <a:pt x="443550" y="199595"/>
                  </a:cubicBezTo>
                  <a:lnTo>
                    <a:pt x="443550" y="199595"/>
                  </a:lnTo>
                  <a:lnTo>
                    <a:pt x="337145" y="306000"/>
                  </a:lnTo>
                  <a:lnTo>
                    <a:pt x="443550" y="412405"/>
                  </a:lnTo>
                  <a:lnTo>
                    <a:pt x="443550" y="412406"/>
                  </a:lnTo>
                  <a:cubicBezTo>
                    <a:pt x="452150" y="421006"/>
                    <a:pt x="452150" y="434950"/>
                    <a:pt x="443550" y="443550"/>
                  </a:cubicBezTo>
                  <a:cubicBezTo>
                    <a:pt x="434950" y="452150"/>
                    <a:pt x="421006" y="452150"/>
                    <a:pt x="412405" y="443550"/>
                  </a:cubicBezTo>
                  <a:lnTo>
                    <a:pt x="412405" y="443550"/>
                  </a:lnTo>
                  <a:lnTo>
                    <a:pt x="306000" y="337145"/>
                  </a:lnTo>
                  <a:lnTo>
                    <a:pt x="199595" y="443550"/>
                  </a:lnTo>
                  <a:lnTo>
                    <a:pt x="199595" y="443550"/>
                  </a:lnTo>
                  <a:cubicBezTo>
                    <a:pt x="190994" y="452150"/>
                    <a:pt x="177051" y="452150"/>
                    <a:pt x="168450" y="443550"/>
                  </a:cubicBezTo>
                  <a:cubicBezTo>
                    <a:pt x="159850" y="434950"/>
                    <a:pt x="159850" y="421006"/>
                    <a:pt x="168450" y="412406"/>
                  </a:cubicBezTo>
                  <a:lnTo>
                    <a:pt x="168450" y="412405"/>
                  </a:lnTo>
                  <a:lnTo>
                    <a:pt x="274856" y="306000"/>
                  </a:lnTo>
                  <a:lnTo>
                    <a:pt x="168450" y="199595"/>
                  </a:lnTo>
                  <a:lnTo>
                    <a:pt x="168450" y="199595"/>
                  </a:lnTo>
                  <a:cubicBezTo>
                    <a:pt x="159850" y="190994"/>
                    <a:pt x="159850" y="177051"/>
                    <a:pt x="168450" y="168450"/>
                  </a:cubicBezTo>
                  <a:cubicBezTo>
                    <a:pt x="173154" y="163747"/>
                    <a:pt x="179455" y="161616"/>
                    <a:pt x="185607" y="162057"/>
                  </a:cubicBezTo>
                  <a:close/>
                  <a:moveTo>
                    <a:pt x="306000" y="38250"/>
                  </a:moveTo>
                  <a:cubicBezTo>
                    <a:pt x="158126" y="38250"/>
                    <a:pt x="38250" y="158126"/>
                    <a:pt x="38250" y="306000"/>
                  </a:cubicBezTo>
                  <a:cubicBezTo>
                    <a:pt x="38250" y="453875"/>
                    <a:pt x="158126" y="573750"/>
                    <a:pt x="306000" y="573750"/>
                  </a:cubicBezTo>
                  <a:cubicBezTo>
                    <a:pt x="453875" y="573750"/>
                    <a:pt x="573750" y="453875"/>
                    <a:pt x="573750" y="306000"/>
                  </a:cubicBezTo>
                  <a:cubicBezTo>
                    <a:pt x="573750" y="158126"/>
                    <a:pt x="453875" y="38250"/>
                    <a:pt x="306000" y="38250"/>
                  </a:cubicBezTo>
                  <a:close/>
                  <a:moveTo>
                    <a:pt x="306000" y="0"/>
                  </a:moveTo>
                  <a:cubicBezTo>
                    <a:pt x="474999" y="0"/>
                    <a:pt x="612000" y="137001"/>
                    <a:pt x="612000" y="306000"/>
                  </a:cubicBezTo>
                  <a:cubicBezTo>
                    <a:pt x="612000" y="474999"/>
                    <a:pt x="474999" y="612000"/>
                    <a:pt x="306000" y="612000"/>
                  </a:cubicBezTo>
                  <a:cubicBezTo>
                    <a:pt x="137001" y="612000"/>
                    <a:pt x="0" y="474999"/>
                    <a:pt x="0" y="306000"/>
                  </a:cubicBezTo>
                  <a:cubicBezTo>
                    <a:pt x="0" y="137001"/>
                    <a:pt x="137001" y="0"/>
                    <a:pt x="306000" y="0"/>
                  </a:cubicBezTo>
                  <a:close/>
                </a:path>
              </a:pathLst>
            </a:custGeom>
            <a:solidFill>
              <a:srgbClr val="03878A"/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400" b="0" i="0" u="none" strike="noStrike" kern="1200" cap="none" spc="6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32727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07754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8" name="think-cell Folie" r:id="rId5" imgW="512" imgH="514" progId="TCLayout.ActiveDocument.1">
                  <p:embed/>
                </p:oleObj>
              </mc:Choice>
              <mc:Fallback>
                <p:oleObj name="think-cell Folie" r:id="rId5" imgW="512" imgH="514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7568" y="2894382"/>
            <a:ext cx="1931887" cy="315410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615173" y="3055870"/>
            <a:ext cx="1612212" cy="2831123"/>
          </a:xfrm>
          <a:prstGeom prst="rect">
            <a:avLst/>
          </a:prstGeom>
        </p:spPr>
      </p:pic>
      <p:sp>
        <p:nvSpPr>
          <p:cNvPr id="21" name="Ovale Legende 20"/>
          <p:cNvSpPr/>
          <p:nvPr/>
        </p:nvSpPr>
        <p:spPr>
          <a:xfrm>
            <a:off x="1695840" y="1149756"/>
            <a:ext cx="9063043" cy="1743042"/>
          </a:xfrm>
          <a:prstGeom prst="wedgeEllipseCallout">
            <a:avLst>
              <a:gd name="adj1" fmla="val -29137"/>
              <a:gd name="adj2" fmla="val 71705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800" dirty="0" smtClean="0">
                <a:solidFill>
                  <a:schemeClr val="accent4"/>
                </a:solidFill>
              </a:rPr>
              <a:t>Verwaltung modernisieren und die Verpflichtungserklärung digitalisieren, gemeinsam mit:</a:t>
            </a:r>
          </a:p>
          <a:p>
            <a:pPr algn="ctr"/>
            <a:r>
              <a:rPr lang="de-DE" sz="1800" dirty="0" smtClean="0">
                <a:solidFill>
                  <a:schemeClr val="accent4"/>
                </a:solidFill>
              </a:rPr>
              <a:t>Bund, Land Hessen, IT-Dienstleister ekom21</a:t>
            </a:r>
            <a:endParaRPr lang="de-DE" sz="1800" dirty="0">
              <a:solidFill>
                <a:schemeClr val="accent4"/>
              </a:solidFill>
            </a:endParaRPr>
          </a:p>
        </p:txBody>
      </p:sp>
      <p:sp>
        <p:nvSpPr>
          <p:cNvPr id="22" name="Rechteck 21"/>
          <p:cNvSpPr/>
          <p:nvPr/>
        </p:nvSpPr>
        <p:spPr>
          <a:xfrm>
            <a:off x="6466629" y="3507578"/>
            <a:ext cx="4660250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sz="1800" dirty="0" smtClean="0">
                <a:solidFill>
                  <a:schemeClr val="accent4"/>
                </a:solidFill>
              </a:rPr>
              <a:t>Nutzerfreundlichkeit steht im Mittelpunkt</a:t>
            </a:r>
            <a:endParaRPr lang="de-DE" sz="1800" dirty="0">
              <a:solidFill>
                <a:schemeClr val="accent4"/>
              </a:solidFill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6504916" y="4155579"/>
            <a:ext cx="3130985" cy="11387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chemeClr val="accent4"/>
                </a:solidFill>
              </a:rPr>
              <a:t>Einfache Bedienbarkeit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chemeClr val="accent4"/>
                </a:solidFill>
              </a:rPr>
              <a:t>Standardisierung</a:t>
            </a:r>
          </a:p>
          <a:p>
            <a:pPr marL="285750" indent="-2857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de-DE" dirty="0" smtClean="0">
                <a:solidFill>
                  <a:schemeClr val="accent4"/>
                </a:solidFill>
              </a:rPr>
              <a:t>Deutschlandweiter </a:t>
            </a:r>
            <a:r>
              <a:rPr lang="de-DE" dirty="0" smtClean="0">
                <a:solidFill>
                  <a:schemeClr val="accent4"/>
                </a:solidFill>
              </a:rPr>
              <a:t>Rollout</a:t>
            </a:r>
            <a:endParaRPr lang="de-DE" dirty="0">
              <a:solidFill>
                <a:schemeClr val="accent4"/>
              </a:solidFill>
            </a:endParaRPr>
          </a:p>
        </p:txBody>
      </p:sp>
      <p:pic>
        <p:nvPicPr>
          <p:cNvPr id="3" name="Grafik 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1124" y="3507578"/>
            <a:ext cx="2321193" cy="2839380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3521990" y="3729444"/>
            <a:ext cx="2134100" cy="2780586"/>
          </a:xfrm>
          <a:prstGeom prst="rect">
            <a:avLst/>
          </a:prstGeom>
        </p:spPr>
      </p:pic>
      <p:grpSp>
        <p:nvGrpSpPr>
          <p:cNvPr id="18" name="easyIcon">
            <a:extLst>
              <a:ext uri="{FF2B5EF4-FFF2-40B4-BE49-F238E27FC236}">
                <a16:creationId xmlns:a16="http://schemas.microsoft.com/office/drawing/2014/main" id="{5C5FAF98-67D7-48B6-B7DA-72B8EC58DBD2}"/>
              </a:ext>
            </a:extLst>
          </p:cNvPr>
          <p:cNvGrpSpPr>
            <a:grpSpLocks noChangeAspect="1"/>
          </p:cNvGrpSpPr>
          <p:nvPr>
            <p:custDataLst>
              <p:tags r:id="rId3"/>
            </p:custDataLst>
          </p:nvPr>
        </p:nvGrpSpPr>
        <p:grpSpPr>
          <a:xfrm>
            <a:off x="5984896" y="3303793"/>
            <a:ext cx="648001" cy="648001"/>
            <a:chOff x="4326806" y="3568015"/>
            <a:chExt cx="535539" cy="535539"/>
          </a:xfrm>
        </p:grpSpPr>
        <p:sp>
          <p:nvSpPr>
            <p:cNvPr id="19" name="Background">
              <a:extLst>
                <a:ext uri="{FF2B5EF4-FFF2-40B4-BE49-F238E27FC236}">
                  <a16:creationId xmlns:a16="http://schemas.microsoft.com/office/drawing/2014/main" id="{3F0729E8-820B-4492-B4F2-67D680BE40D7}"/>
                </a:ext>
              </a:extLst>
            </p:cNvPr>
            <p:cNvSpPr/>
            <p:nvPr/>
          </p:nvSpPr>
          <p:spPr>
            <a:xfrm>
              <a:off x="4326806" y="3568015"/>
              <a:ext cx="535539" cy="535539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C800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C8C800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grpSp>
          <p:nvGrpSpPr>
            <p:cNvPr id="20" name="Grafik 1200">
              <a:extLst>
                <a:ext uri="{FF2B5EF4-FFF2-40B4-BE49-F238E27FC236}">
                  <a16:creationId xmlns:a16="http://schemas.microsoft.com/office/drawing/2014/main" id="{367FEE21-83C4-4C14-AF67-94630840D76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4432576" y="3673785"/>
              <a:ext cx="324000" cy="324000"/>
              <a:chOff x="4432576" y="3673785"/>
              <a:chExt cx="590550" cy="590550"/>
            </a:xfrm>
            <a:solidFill>
              <a:srgbClr val="03878A"/>
            </a:solidFill>
          </p:grpSpPr>
          <p:sp>
            <p:nvSpPr>
              <p:cNvPr id="26" name="Vector">
                <a:extLst>
                  <a:ext uri="{FF2B5EF4-FFF2-40B4-BE49-F238E27FC236}">
                    <a16:creationId xmlns:a16="http://schemas.microsoft.com/office/drawing/2014/main" id="{7C24DC8D-04CB-4618-8A58-F11826AFE8D7}"/>
                  </a:ext>
                </a:extLst>
              </p:cNvPr>
              <p:cNvSpPr/>
              <p:nvPr/>
            </p:nvSpPr>
            <p:spPr bwMode="gray">
              <a:xfrm>
                <a:off x="4432576" y="3959535"/>
                <a:ext cx="76200" cy="19050"/>
              </a:xfrm>
              <a:custGeom>
                <a:avLst/>
                <a:gdLst>
                  <a:gd name="connsiteX0" fmla="*/ 66675 w 76200"/>
                  <a:gd name="connsiteY0" fmla="*/ 0 h 19050"/>
                  <a:gd name="connsiteX1" fmla="*/ 9525 w 76200"/>
                  <a:gd name="connsiteY1" fmla="*/ 0 h 19050"/>
                  <a:gd name="connsiteX2" fmla="*/ 0 w 76200"/>
                  <a:gd name="connsiteY2" fmla="*/ 9525 h 19050"/>
                  <a:gd name="connsiteX3" fmla="*/ 9525 w 76200"/>
                  <a:gd name="connsiteY3" fmla="*/ 19050 h 19050"/>
                  <a:gd name="connsiteX4" fmla="*/ 66675 w 76200"/>
                  <a:gd name="connsiteY4" fmla="*/ 19050 h 19050"/>
                  <a:gd name="connsiteX5" fmla="*/ 76200 w 76200"/>
                  <a:gd name="connsiteY5" fmla="*/ 9525 h 19050"/>
                  <a:gd name="connsiteX6" fmla="*/ 66675 w 76200"/>
                  <a:gd name="connsiteY6" fmla="*/ 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200" h="19050">
                    <a:moveTo>
                      <a:pt x="66675" y="0"/>
                    </a:moveTo>
                    <a:lnTo>
                      <a:pt x="9525" y="0"/>
                    </a:lnTo>
                    <a:cubicBezTo>
                      <a:pt x="4267" y="0"/>
                      <a:pt x="0" y="4258"/>
                      <a:pt x="0" y="9525"/>
                    </a:cubicBezTo>
                    <a:cubicBezTo>
                      <a:pt x="0" y="14792"/>
                      <a:pt x="4267" y="19050"/>
                      <a:pt x="9525" y="19050"/>
                    </a:cubicBezTo>
                    <a:lnTo>
                      <a:pt x="66675" y="19050"/>
                    </a:lnTo>
                    <a:cubicBezTo>
                      <a:pt x="71933" y="19050"/>
                      <a:pt x="76200" y="14792"/>
                      <a:pt x="76200" y="9525"/>
                    </a:cubicBezTo>
                    <a:cubicBezTo>
                      <a:pt x="76200" y="4258"/>
                      <a:pt x="71933" y="0"/>
                      <a:pt x="66675" y="0"/>
                    </a:cubicBezTo>
                    <a:close/>
                  </a:path>
                </a:pathLst>
              </a:custGeom>
              <a:solidFill>
                <a:srgbClr val="1B366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27" name="Vector">
                <a:extLst>
                  <a:ext uri="{FF2B5EF4-FFF2-40B4-BE49-F238E27FC236}">
                    <a16:creationId xmlns:a16="http://schemas.microsoft.com/office/drawing/2014/main" id="{1744BF0C-38FA-4CFD-806B-56CF8DC0B0BE}"/>
                  </a:ext>
                </a:extLst>
              </p:cNvPr>
              <p:cNvSpPr/>
              <p:nvPr/>
            </p:nvSpPr>
            <p:spPr bwMode="gray">
              <a:xfrm>
                <a:off x="4516260" y="3757478"/>
                <a:ext cx="59469" cy="59457"/>
              </a:xfrm>
              <a:custGeom>
                <a:avLst/>
                <a:gdLst>
                  <a:gd name="connsiteX0" fmla="*/ 49942 w 59469"/>
                  <a:gd name="connsiteY0" fmla="*/ 59457 h 59457"/>
                  <a:gd name="connsiteX1" fmla="*/ 56676 w 59469"/>
                  <a:gd name="connsiteY1" fmla="*/ 56667 h 59457"/>
                  <a:gd name="connsiteX2" fmla="*/ 56676 w 59469"/>
                  <a:gd name="connsiteY2" fmla="*/ 43198 h 59457"/>
                  <a:gd name="connsiteX3" fmla="*/ 16262 w 59469"/>
                  <a:gd name="connsiteY3" fmla="*/ 2793 h 59457"/>
                  <a:gd name="connsiteX4" fmla="*/ 2793 w 59469"/>
                  <a:gd name="connsiteY4" fmla="*/ 2793 h 59457"/>
                  <a:gd name="connsiteX5" fmla="*/ 2793 w 59469"/>
                  <a:gd name="connsiteY5" fmla="*/ 16262 h 59457"/>
                  <a:gd name="connsiteX6" fmla="*/ 43208 w 59469"/>
                  <a:gd name="connsiteY6" fmla="*/ 56667 h 59457"/>
                  <a:gd name="connsiteX7" fmla="*/ 49942 w 59469"/>
                  <a:gd name="connsiteY7" fmla="*/ 59457 h 59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469" h="59457">
                    <a:moveTo>
                      <a:pt x="49942" y="59457"/>
                    </a:moveTo>
                    <a:cubicBezTo>
                      <a:pt x="52380" y="59457"/>
                      <a:pt x="54819" y="58524"/>
                      <a:pt x="56676" y="56667"/>
                    </a:cubicBezTo>
                    <a:cubicBezTo>
                      <a:pt x="60400" y="52942"/>
                      <a:pt x="60400" y="46923"/>
                      <a:pt x="56676" y="43198"/>
                    </a:cubicBezTo>
                    <a:lnTo>
                      <a:pt x="16262" y="2793"/>
                    </a:lnTo>
                    <a:cubicBezTo>
                      <a:pt x="12537" y="-931"/>
                      <a:pt x="6517" y="-931"/>
                      <a:pt x="2793" y="2793"/>
                    </a:cubicBezTo>
                    <a:cubicBezTo>
                      <a:pt x="-931" y="6517"/>
                      <a:pt x="-931" y="12537"/>
                      <a:pt x="2793" y="16262"/>
                    </a:cubicBezTo>
                    <a:lnTo>
                      <a:pt x="43208" y="56667"/>
                    </a:lnTo>
                    <a:cubicBezTo>
                      <a:pt x="45075" y="58534"/>
                      <a:pt x="47504" y="59457"/>
                      <a:pt x="49942" y="59457"/>
                    </a:cubicBezTo>
                    <a:close/>
                  </a:path>
                </a:pathLst>
              </a:custGeom>
              <a:solidFill>
                <a:srgbClr val="1B366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Vector">
                <a:extLst>
                  <a:ext uri="{FF2B5EF4-FFF2-40B4-BE49-F238E27FC236}">
                    <a16:creationId xmlns:a16="http://schemas.microsoft.com/office/drawing/2014/main" id="{914000A8-47F9-41AA-9AE7-09DDA1885A82}"/>
                  </a:ext>
                </a:extLst>
              </p:cNvPr>
              <p:cNvSpPr/>
              <p:nvPr/>
            </p:nvSpPr>
            <p:spPr bwMode="gray">
              <a:xfrm>
                <a:off x="4718326" y="3673785"/>
                <a:ext cx="19050" cy="76200"/>
              </a:xfrm>
              <a:custGeom>
                <a:avLst/>
                <a:gdLst>
                  <a:gd name="connsiteX0" fmla="*/ 9525 w 19050"/>
                  <a:gd name="connsiteY0" fmla="*/ 76200 h 76200"/>
                  <a:gd name="connsiteX1" fmla="*/ 19050 w 19050"/>
                  <a:gd name="connsiteY1" fmla="*/ 66675 h 76200"/>
                  <a:gd name="connsiteX2" fmla="*/ 19050 w 19050"/>
                  <a:gd name="connsiteY2" fmla="*/ 9525 h 76200"/>
                  <a:gd name="connsiteX3" fmla="*/ 9525 w 19050"/>
                  <a:gd name="connsiteY3" fmla="*/ 0 h 76200"/>
                  <a:gd name="connsiteX4" fmla="*/ 0 w 19050"/>
                  <a:gd name="connsiteY4" fmla="*/ 9525 h 76200"/>
                  <a:gd name="connsiteX5" fmla="*/ 0 w 19050"/>
                  <a:gd name="connsiteY5" fmla="*/ 66675 h 76200"/>
                  <a:gd name="connsiteX6" fmla="*/ 9525 w 19050"/>
                  <a:gd name="connsiteY6" fmla="*/ 76200 h 76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9050" h="76200">
                    <a:moveTo>
                      <a:pt x="9525" y="76200"/>
                    </a:moveTo>
                    <a:cubicBezTo>
                      <a:pt x="14783" y="76200"/>
                      <a:pt x="19050" y="71942"/>
                      <a:pt x="19050" y="66675"/>
                    </a:cubicBezTo>
                    <a:lnTo>
                      <a:pt x="19050" y="9525"/>
                    </a:lnTo>
                    <a:cubicBezTo>
                      <a:pt x="19050" y="4258"/>
                      <a:pt x="14783" y="0"/>
                      <a:pt x="9525" y="0"/>
                    </a:cubicBezTo>
                    <a:cubicBezTo>
                      <a:pt x="4267" y="0"/>
                      <a:pt x="0" y="4258"/>
                      <a:pt x="0" y="9525"/>
                    </a:cubicBezTo>
                    <a:lnTo>
                      <a:pt x="0" y="66675"/>
                    </a:lnTo>
                    <a:cubicBezTo>
                      <a:pt x="0" y="71942"/>
                      <a:pt x="4267" y="76200"/>
                      <a:pt x="9525" y="76200"/>
                    </a:cubicBezTo>
                    <a:close/>
                  </a:path>
                </a:pathLst>
              </a:custGeom>
              <a:solidFill>
                <a:srgbClr val="1B366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29" name="Vector">
                <a:extLst>
                  <a:ext uri="{FF2B5EF4-FFF2-40B4-BE49-F238E27FC236}">
                    <a16:creationId xmlns:a16="http://schemas.microsoft.com/office/drawing/2014/main" id="{C16E4E4E-F17A-46E0-A6A6-92279DEC9645}"/>
                  </a:ext>
                </a:extLst>
              </p:cNvPr>
              <p:cNvSpPr/>
              <p:nvPr/>
            </p:nvSpPr>
            <p:spPr bwMode="gray">
              <a:xfrm>
                <a:off x="4879962" y="3757478"/>
                <a:ext cx="59469" cy="59457"/>
              </a:xfrm>
              <a:custGeom>
                <a:avLst/>
                <a:gdLst>
                  <a:gd name="connsiteX0" fmla="*/ 43208 w 59469"/>
                  <a:gd name="connsiteY0" fmla="*/ 2793 h 59457"/>
                  <a:gd name="connsiteX1" fmla="*/ 2793 w 59469"/>
                  <a:gd name="connsiteY1" fmla="*/ 43198 h 59457"/>
                  <a:gd name="connsiteX2" fmla="*/ 2793 w 59469"/>
                  <a:gd name="connsiteY2" fmla="*/ 56667 h 59457"/>
                  <a:gd name="connsiteX3" fmla="*/ 9527 w 59469"/>
                  <a:gd name="connsiteY3" fmla="*/ 59457 h 59457"/>
                  <a:gd name="connsiteX4" fmla="*/ 16262 w 59469"/>
                  <a:gd name="connsiteY4" fmla="*/ 56667 h 59457"/>
                  <a:gd name="connsiteX5" fmla="*/ 56676 w 59469"/>
                  <a:gd name="connsiteY5" fmla="*/ 16262 h 59457"/>
                  <a:gd name="connsiteX6" fmla="*/ 56676 w 59469"/>
                  <a:gd name="connsiteY6" fmla="*/ 2793 h 59457"/>
                  <a:gd name="connsiteX7" fmla="*/ 43208 w 59469"/>
                  <a:gd name="connsiteY7" fmla="*/ 2793 h 5945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59469" h="59457">
                    <a:moveTo>
                      <a:pt x="43208" y="2793"/>
                    </a:moveTo>
                    <a:lnTo>
                      <a:pt x="2793" y="43198"/>
                    </a:lnTo>
                    <a:cubicBezTo>
                      <a:pt x="-931" y="46923"/>
                      <a:pt x="-931" y="52942"/>
                      <a:pt x="2793" y="56667"/>
                    </a:cubicBezTo>
                    <a:cubicBezTo>
                      <a:pt x="4651" y="58524"/>
                      <a:pt x="7089" y="59457"/>
                      <a:pt x="9527" y="59457"/>
                    </a:cubicBezTo>
                    <a:cubicBezTo>
                      <a:pt x="11966" y="59457"/>
                      <a:pt x="14404" y="58524"/>
                      <a:pt x="16262" y="56667"/>
                    </a:cubicBezTo>
                    <a:lnTo>
                      <a:pt x="56676" y="16262"/>
                    </a:lnTo>
                    <a:cubicBezTo>
                      <a:pt x="60400" y="12537"/>
                      <a:pt x="60400" y="6517"/>
                      <a:pt x="56676" y="2793"/>
                    </a:cubicBezTo>
                    <a:cubicBezTo>
                      <a:pt x="52952" y="-931"/>
                      <a:pt x="46932" y="-931"/>
                      <a:pt x="43208" y="2793"/>
                    </a:cubicBezTo>
                    <a:close/>
                  </a:path>
                </a:pathLst>
              </a:custGeom>
              <a:solidFill>
                <a:srgbClr val="1B366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30" name="Vector">
                <a:extLst>
                  <a:ext uri="{FF2B5EF4-FFF2-40B4-BE49-F238E27FC236}">
                    <a16:creationId xmlns:a16="http://schemas.microsoft.com/office/drawing/2014/main" id="{96EE0A90-A792-4CF5-8563-AEAEEBA121AC}"/>
                  </a:ext>
                </a:extLst>
              </p:cNvPr>
              <p:cNvSpPr/>
              <p:nvPr/>
            </p:nvSpPr>
            <p:spPr bwMode="gray">
              <a:xfrm>
                <a:off x="4946926" y="3959535"/>
                <a:ext cx="76200" cy="19050"/>
              </a:xfrm>
              <a:custGeom>
                <a:avLst/>
                <a:gdLst>
                  <a:gd name="connsiteX0" fmla="*/ 66675 w 76200"/>
                  <a:gd name="connsiteY0" fmla="*/ 0 h 19050"/>
                  <a:gd name="connsiteX1" fmla="*/ 9525 w 76200"/>
                  <a:gd name="connsiteY1" fmla="*/ 0 h 19050"/>
                  <a:gd name="connsiteX2" fmla="*/ 0 w 76200"/>
                  <a:gd name="connsiteY2" fmla="*/ 9525 h 19050"/>
                  <a:gd name="connsiteX3" fmla="*/ 9525 w 76200"/>
                  <a:gd name="connsiteY3" fmla="*/ 19050 h 19050"/>
                  <a:gd name="connsiteX4" fmla="*/ 66675 w 76200"/>
                  <a:gd name="connsiteY4" fmla="*/ 19050 h 19050"/>
                  <a:gd name="connsiteX5" fmla="*/ 76200 w 76200"/>
                  <a:gd name="connsiteY5" fmla="*/ 9525 h 19050"/>
                  <a:gd name="connsiteX6" fmla="*/ 66675 w 76200"/>
                  <a:gd name="connsiteY6" fmla="*/ 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6200" h="19050">
                    <a:moveTo>
                      <a:pt x="66675" y="0"/>
                    </a:moveTo>
                    <a:lnTo>
                      <a:pt x="9525" y="0"/>
                    </a:lnTo>
                    <a:cubicBezTo>
                      <a:pt x="4267" y="0"/>
                      <a:pt x="0" y="4258"/>
                      <a:pt x="0" y="9525"/>
                    </a:cubicBezTo>
                    <a:cubicBezTo>
                      <a:pt x="0" y="14792"/>
                      <a:pt x="4267" y="19050"/>
                      <a:pt x="9525" y="19050"/>
                    </a:cubicBezTo>
                    <a:lnTo>
                      <a:pt x="66675" y="19050"/>
                    </a:lnTo>
                    <a:cubicBezTo>
                      <a:pt x="71933" y="19050"/>
                      <a:pt x="76200" y="14792"/>
                      <a:pt x="76200" y="9525"/>
                    </a:cubicBezTo>
                    <a:cubicBezTo>
                      <a:pt x="76200" y="4258"/>
                      <a:pt x="71933" y="0"/>
                      <a:pt x="66675" y="0"/>
                    </a:cubicBezTo>
                    <a:close/>
                  </a:path>
                </a:pathLst>
              </a:custGeom>
              <a:solidFill>
                <a:srgbClr val="1B366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Vector">
                <a:extLst>
                  <a:ext uri="{FF2B5EF4-FFF2-40B4-BE49-F238E27FC236}">
                    <a16:creationId xmlns:a16="http://schemas.microsoft.com/office/drawing/2014/main" id="{8380500C-4F06-4DDA-B042-A7AE2A0153AF}"/>
                  </a:ext>
                </a:extLst>
              </p:cNvPr>
              <p:cNvSpPr/>
              <p:nvPr/>
            </p:nvSpPr>
            <p:spPr bwMode="gray">
              <a:xfrm>
                <a:off x="4556401" y="3797610"/>
                <a:ext cx="342900" cy="400050"/>
              </a:xfrm>
              <a:custGeom>
                <a:avLst/>
                <a:gdLst>
                  <a:gd name="connsiteX0" fmla="*/ 171450 w 342900"/>
                  <a:gd name="connsiteY0" fmla="*/ 0 h 400050"/>
                  <a:gd name="connsiteX1" fmla="*/ 0 w 342900"/>
                  <a:gd name="connsiteY1" fmla="*/ 171450 h 400050"/>
                  <a:gd name="connsiteX2" fmla="*/ 95250 w 342900"/>
                  <a:gd name="connsiteY2" fmla="*/ 324907 h 400050"/>
                  <a:gd name="connsiteX3" fmla="*/ 95250 w 342900"/>
                  <a:gd name="connsiteY3" fmla="*/ 400050 h 400050"/>
                  <a:gd name="connsiteX4" fmla="*/ 247650 w 342900"/>
                  <a:gd name="connsiteY4" fmla="*/ 400050 h 400050"/>
                  <a:gd name="connsiteX5" fmla="*/ 247650 w 342900"/>
                  <a:gd name="connsiteY5" fmla="*/ 324907 h 400050"/>
                  <a:gd name="connsiteX6" fmla="*/ 342900 w 342900"/>
                  <a:gd name="connsiteY6" fmla="*/ 171450 h 400050"/>
                  <a:gd name="connsiteX7" fmla="*/ 171450 w 342900"/>
                  <a:gd name="connsiteY7" fmla="*/ 0 h 400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342900" h="400050">
                    <a:moveTo>
                      <a:pt x="171450" y="0"/>
                    </a:moveTo>
                    <a:cubicBezTo>
                      <a:pt x="76914" y="0"/>
                      <a:pt x="0" y="76914"/>
                      <a:pt x="0" y="171450"/>
                    </a:cubicBezTo>
                    <a:cubicBezTo>
                      <a:pt x="0" y="236477"/>
                      <a:pt x="37186" y="296047"/>
                      <a:pt x="95250" y="324907"/>
                    </a:cubicBezTo>
                    <a:lnTo>
                      <a:pt x="95250" y="400050"/>
                    </a:lnTo>
                    <a:lnTo>
                      <a:pt x="247650" y="400050"/>
                    </a:lnTo>
                    <a:lnTo>
                      <a:pt x="247650" y="324907"/>
                    </a:lnTo>
                    <a:cubicBezTo>
                      <a:pt x="305714" y="296047"/>
                      <a:pt x="342900" y="236477"/>
                      <a:pt x="342900" y="171450"/>
                    </a:cubicBezTo>
                    <a:cubicBezTo>
                      <a:pt x="342900" y="76914"/>
                      <a:pt x="265986" y="0"/>
                      <a:pt x="171450" y="0"/>
                    </a:cubicBezTo>
                    <a:close/>
                  </a:path>
                </a:pathLst>
              </a:custGeom>
              <a:solidFill>
                <a:srgbClr val="1B366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Vector">
                <a:extLst>
                  <a:ext uri="{FF2B5EF4-FFF2-40B4-BE49-F238E27FC236}">
                    <a16:creationId xmlns:a16="http://schemas.microsoft.com/office/drawing/2014/main" id="{B8E7EEA2-9D55-410A-980A-0D293A706CBA}"/>
                  </a:ext>
                </a:extLst>
              </p:cNvPr>
              <p:cNvSpPr/>
              <p:nvPr/>
            </p:nvSpPr>
            <p:spPr bwMode="gray">
              <a:xfrm>
                <a:off x="4651651" y="4216710"/>
                <a:ext cx="152400" cy="47625"/>
              </a:xfrm>
              <a:custGeom>
                <a:avLst/>
                <a:gdLst>
                  <a:gd name="connsiteX0" fmla="*/ 47625 w 152400"/>
                  <a:gd name="connsiteY0" fmla="*/ 47625 h 47625"/>
                  <a:gd name="connsiteX1" fmla="*/ 104775 w 152400"/>
                  <a:gd name="connsiteY1" fmla="*/ 47625 h 47625"/>
                  <a:gd name="connsiteX2" fmla="*/ 152400 w 152400"/>
                  <a:gd name="connsiteY2" fmla="*/ 0 h 47625"/>
                  <a:gd name="connsiteX3" fmla="*/ 0 w 152400"/>
                  <a:gd name="connsiteY3" fmla="*/ 0 h 47625"/>
                  <a:gd name="connsiteX4" fmla="*/ 47625 w 152400"/>
                  <a:gd name="connsiteY4" fmla="*/ 47625 h 476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2400" h="47625">
                    <a:moveTo>
                      <a:pt x="47625" y="47625"/>
                    </a:moveTo>
                    <a:lnTo>
                      <a:pt x="104775" y="47625"/>
                    </a:lnTo>
                    <a:cubicBezTo>
                      <a:pt x="131074" y="47625"/>
                      <a:pt x="152400" y="26299"/>
                      <a:pt x="152400" y="0"/>
                    </a:cubicBezTo>
                    <a:lnTo>
                      <a:pt x="0" y="0"/>
                    </a:lnTo>
                    <a:cubicBezTo>
                      <a:pt x="0" y="26299"/>
                      <a:pt x="21326" y="47625"/>
                      <a:pt x="47625" y="47625"/>
                    </a:cubicBezTo>
                    <a:close/>
                  </a:path>
                </a:pathLst>
              </a:custGeom>
              <a:solidFill>
                <a:srgbClr val="1B366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329612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1968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1" name="think-cell Folie" r:id="rId4" imgW="512" imgH="514" progId="TCLayout.ActiveDocument.1">
                  <p:embed/>
                </p:oleObj>
              </mc:Choice>
              <mc:Fallback>
                <p:oleObj name="think-cell Folie" r:id="rId4" imgW="512" imgH="51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uppieren 7"/>
          <p:cNvGrpSpPr>
            <a:grpSpLocks noChangeAspect="1"/>
          </p:cNvGrpSpPr>
          <p:nvPr/>
        </p:nvGrpSpPr>
        <p:grpSpPr>
          <a:xfrm>
            <a:off x="1199456" y="1052736"/>
            <a:ext cx="5508612" cy="3672408"/>
            <a:chOff x="4079776" y="1340768"/>
            <a:chExt cx="6192688" cy="3960440"/>
          </a:xfrm>
        </p:grpSpPr>
        <p:pic>
          <p:nvPicPr>
            <p:cNvPr id="5" name="Grafik 4"/>
            <p:cNvPicPr>
              <a:picLocks noChangeAspect="1"/>
            </p:cNvPicPr>
            <p:nvPr/>
          </p:nvPicPr>
          <p:blipFill rotWithShape="1">
            <a:blip r:embed="rId6"/>
            <a:srcRect b="18856"/>
            <a:stretch/>
          </p:blipFill>
          <p:spPr>
            <a:xfrm>
              <a:off x="4295800" y="1504179"/>
              <a:ext cx="5793548" cy="2788917"/>
            </a:xfrm>
            <a:prstGeom prst="rect">
              <a:avLst/>
            </a:prstGeom>
          </p:spPr>
        </p:pic>
        <p:pic>
          <p:nvPicPr>
            <p:cNvPr id="4" name="object 36"/>
            <p:cNvPicPr/>
            <p:nvPr/>
          </p:nvPicPr>
          <p:blipFill>
            <a:blip r:embed="rId7" cstate="print"/>
            <a:stretch>
              <a:fillRect/>
            </a:stretch>
          </p:blipFill>
          <p:spPr>
            <a:xfrm>
              <a:off x="4079776" y="1340768"/>
              <a:ext cx="6192688" cy="3960440"/>
            </a:xfrm>
            <a:prstGeom prst="rect">
              <a:avLst/>
            </a:prstGeom>
          </p:spPr>
        </p:pic>
      </p:grpSp>
      <p:pic>
        <p:nvPicPr>
          <p:cNvPr id="9" name="Grafik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2736872"/>
            <a:ext cx="2357047" cy="3428432"/>
          </a:xfrm>
          <a:prstGeom prst="rect">
            <a:avLst/>
          </a:prstGeom>
        </p:spPr>
      </p:pic>
      <p:sp>
        <p:nvSpPr>
          <p:cNvPr id="10" name="Textfeld 9"/>
          <p:cNvSpPr txBox="1"/>
          <p:nvPr/>
        </p:nvSpPr>
        <p:spPr>
          <a:xfrm>
            <a:off x="5231904" y="4149080"/>
            <a:ext cx="6264696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de-DE" dirty="0" smtClean="0">
                <a:solidFill>
                  <a:schemeClr val="accent4"/>
                </a:solidFill>
              </a:rPr>
              <a:t>Keine Terminierung von Vor-Ort-Terminen zur Datenerfassung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de-DE" dirty="0" smtClean="0">
                <a:solidFill>
                  <a:schemeClr val="accent4"/>
                </a:solidFill>
              </a:rPr>
              <a:t>Einfache Lesbarkeit der Daten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de-DE" dirty="0" smtClean="0">
                <a:solidFill>
                  <a:schemeClr val="accent4"/>
                </a:solidFill>
              </a:rPr>
              <a:t>Zentrale Erfassung aller benötigten Daten und Nachweise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de-DE" dirty="0" smtClean="0">
                <a:solidFill>
                  <a:schemeClr val="accent4"/>
                </a:solidFill>
              </a:rPr>
              <a:t>Rechtsverbindliche Abgabe vollständig digital für Bürger und Unternehmen möglich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ü"/>
            </a:pPr>
            <a:r>
              <a:rPr lang="de-DE" dirty="0" smtClean="0">
                <a:solidFill>
                  <a:schemeClr val="accent4"/>
                </a:solidFill>
              </a:rPr>
              <a:t>Übertragung in Fachverfahren auf Basis von XAusländer</a:t>
            </a:r>
            <a:endParaRPr lang="de-DE" dirty="0">
              <a:solidFill>
                <a:schemeClr val="accent4"/>
              </a:solidFill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6900229" y="2288775"/>
            <a:ext cx="4558342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de-DE" sz="2400" dirty="0" smtClean="0">
                <a:solidFill>
                  <a:schemeClr val="accent4"/>
                </a:solidFill>
              </a:rPr>
              <a:t>Vorteile für die Bearbeitung der Verpflichtungserklärung in der Ausländerbehörde:</a:t>
            </a:r>
            <a:endParaRPr lang="de-DE" sz="2400" dirty="0">
              <a:solidFill>
                <a:schemeClr val="accent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9014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" name="Objekt 6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5" name="think-cell Folie" r:id="rId16" imgW="360" imgH="360" progId="TCLayout.ActiveDocument.1">
                  <p:embed/>
                </p:oleObj>
              </mc:Choice>
              <mc:Fallback>
                <p:oleObj name="think-cell Folie" r:id="rId16" imgW="360" imgH="360" progId="TCLayout.ActiveDocument.1">
                  <p:embed/>
                  <p:pic>
                    <p:nvPicPr>
                      <p:cNvPr id="69" name="Objekt 68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sz="1800" b="0" spc="-7" dirty="0">
                <a:solidFill>
                  <a:srgbClr val="808080"/>
                </a:solidFill>
              </a:rPr>
              <a:t>Kurzvorstellung VE</a:t>
            </a:r>
            <a:r>
              <a:rPr lang="de-DE" dirty="0"/>
              <a:t/>
            </a:r>
            <a:br>
              <a:rPr lang="de-DE" dirty="0"/>
            </a:br>
            <a:r>
              <a:rPr lang="de-DE" dirty="0" smtClean="0"/>
              <a:t>Umsetzung</a:t>
            </a:r>
            <a:endParaRPr lang="de-DE" dirty="0"/>
          </a:p>
        </p:txBody>
      </p:sp>
      <p:cxnSp>
        <p:nvCxnSpPr>
          <p:cNvPr id="5" name="Gerader Verbinder 4"/>
          <p:cNvCxnSpPr/>
          <p:nvPr/>
        </p:nvCxnSpPr>
        <p:spPr>
          <a:xfrm>
            <a:off x="6096000" y="1646027"/>
            <a:ext cx="0" cy="578700"/>
          </a:xfrm>
          <a:prstGeom prst="line">
            <a:avLst/>
          </a:prstGeom>
          <a:ln w="63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AutoShape 12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4588337" y="2422288"/>
            <a:ext cx="1511502" cy="1550539"/>
          </a:xfrm>
          <a:custGeom>
            <a:avLst/>
            <a:gdLst>
              <a:gd name="T0" fmla="+- 0 10816 32"/>
              <a:gd name="T1" fmla="*/ T0 w 21568"/>
              <a:gd name="T2" fmla="*/ 10800 h 21600"/>
              <a:gd name="T3" fmla="+- 0 10816 32"/>
              <a:gd name="T4" fmla="*/ T3 w 21568"/>
              <a:gd name="T5" fmla="*/ 10800 h 21600"/>
              <a:gd name="T6" fmla="+- 0 10816 32"/>
              <a:gd name="T7" fmla="*/ T6 w 21568"/>
              <a:gd name="T8" fmla="*/ 10800 h 21600"/>
              <a:gd name="T9" fmla="+- 0 10816 32"/>
              <a:gd name="T10" fmla="*/ T9 w 21568"/>
              <a:gd name="T11" fmla="*/ 10800 h 21600"/>
            </a:gdLst>
            <a:ahLst/>
            <a:cxnLst>
              <a:cxn ang="0">
                <a:pos x="T1" y="T2"/>
              </a:cxn>
              <a:cxn ang="0">
                <a:pos x="T4" y="T5"/>
              </a:cxn>
              <a:cxn ang="0">
                <a:pos x="T7" y="T8"/>
              </a:cxn>
              <a:cxn ang="0">
                <a:pos x="T10" y="T11"/>
              </a:cxn>
            </a:cxnLst>
            <a:rect l="0" t="0" r="r" b="b"/>
            <a:pathLst>
              <a:path w="21568" h="21600">
                <a:moveTo>
                  <a:pt x="21409" y="0"/>
                </a:moveTo>
                <a:cubicBezTo>
                  <a:pt x="18161" y="0"/>
                  <a:pt x="14923" y="755"/>
                  <a:pt x="11945" y="2220"/>
                </a:cubicBezTo>
                <a:cubicBezTo>
                  <a:pt x="11786" y="2334"/>
                  <a:pt x="11610" y="2421"/>
                  <a:pt x="11419" y="2466"/>
                </a:cubicBezTo>
                <a:cubicBezTo>
                  <a:pt x="9667" y="3389"/>
                  <a:pt x="8018" y="4575"/>
                  <a:pt x="6525" y="6016"/>
                </a:cubicBezTo>
                <a:cubicBezTo>
                  <a:pt x="6393" y="6245"/>
                  <a:pt x="6208" y="6432"/>
                  <a:pt x="5979" y="6565"/>
                </a:cubicBezTo>
                <a:cubicBezTo>
                  <a:pt x="4514" y="8085"/>
                  <a:pt x="3317" y="9765"/>
                  <a:pt x="2390" y="11552"/>
                </a:cubicBezTo>
                <a:cubicBezTo>
                  <a:pt x="2351" y="11676"/>
                  <a:pt x="2294" y="11792"/>
                  <a:pt x="2225" y="11902"/>
                </a:cubicBezTo>
                <a:cubicBezTo>
                  <a:pt x="714" y="14948"/>
                  <a:pt x="-32" y="18275"/>
                  <a:pt x="0" y="21599"/>
                </a:cubicBezTo>
                <a:cubicBezTo>
                  <a:pt x="12266" y="21599"/>
                  <a:pt x="17378" y="21599"/>
                  <a:pt x="17378" y="21599"/>
                </a:cubicBezTo>
                <a:cubicBezTo>
                  <a:pt x="17378" y="19273"/>
                  <a:pt x="19240" y="17410"/>
                  <a:pt x="21568" y="17410"/>
                </a:cubicBezTo>
                <a:cubicBezTo>
                  <a:pt x="21568" y="5"/>
                  <a:pt x="21568" y="442"/>
                  <a:pt x="21568" y="6"/>
                </a:cubicBezTo>
                <a:cubicBezTo>
                  <a:pt x="21515" y="6"/>
                  <a:pt x="21462" y="0"/>
                  <a:pt x="21409" y="0"/>
                </a:cubicBezTo>
                <a:close/>
              </a:path>
            </a:pathLst>
          </a:custGeom>
          <a:solidFill>
            <a:schemeClr val="accent1"/>
          </a:solidFill>
          <a:ln w="12700">
            <a:solidFill>
              <a:schemeClr val="bg1"/>
            </a:solidFill>
          </a:ln>
          <a:effectLst/>
        </p:spPr>
        <p:txBody>
          <a:bodyPr lIns="17143" tIns="17143" rIns="17143" bIns="17143"/>
          <a:lstStyle/>
          <a:p>
            <a:pPr defTabSz="342832">
              <a:defRPr/>
            </a:pPr>
            <a:endParaRPr lang="de-DE" sz="1400" dirty="0">
              <a:solidFill>
                <a:srgbClr val="000000"/>
              </a:solidFill>
              <a:latin typeface="Calibri" charset="0"/>
              <a:cs typeface="Calibri" charset="0"/>
              <a:sym typeface="Calibri" charset="0"/>
            </a:endParaRPr>
          </a:p>
        </p:txBody>
      </p:sp>
      <p:sp>
        <p:nvSpPr>
          <p:cNvPr id="7" name="AutoShape 13"/>
          <p:cNvSpPr>
            <a:spLocks/>
          </p:cNvSpPr>
          <p:nvPr>
            <p:custDataLst>
              <p:tags r:id="rId4"/>
            </p:custDataLst>
          </p:nvPr>
        </p:nvSpPr>
        <p:spPr bwMode="gray">
          <a:xfrm>
            <a:off x="4588337" y="3972827"/>
            <a:ext cx="1511502" cy="1519641"/>
          </a:xfrm>
          <a:custGeom>
            <a:avLst/>
            <a:gdLst>
              <a:gd name="T0" fmla="*/ 10800 w 21600"/>
              <a:gd name="T1" fmla="*/ 10779 h 21559"/>
              <a:gd name="T2" fmla="*/ 10800 w 21600"/>
              <a:gd name="T3" fmla="*/ 10779 h 21559"/>
              <a:gd name="T4" fmla="*/ 10800 w 21600"/>
              <a:gd name="T5" fmla="*/ 10779 h 21559"/>
              <a:gd name="T6" fmla="*/ 10800 w 21600"/>
              <a:gd name="T7" fmla="*/ 10779 h 215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559">
                <a:moveTo>
                  <a:pt x="0" y="0"/>
                </a:moveTo>
                <a:cubicBezTo>
                  <a:pt x="53" y="5502"/>
                  <a:pt x="2137" y="10988"/>
                  <a:pt x="6271" y="15186"/>
                </a:cubicBezTo>
                <a:cubicBezTo>
                  <a:pt x="10500" y="19481"/>
                  <a:pt x="16056" y="21599"/>
                  <a:pt x="21600" y="21558"/>
                </a:cubicBezTo>
                <a:cubicBezTo>
                  <a:pt x="21600" y="9859"/>
                  <a:pt x="21600" y="4260"/>
                  <a:pt x="21600" y="4260"/>
                </a:cubicBezTo>
                <a:cubicBezTo>
                  <a:pt x="19268" y="4260"/>
                  <a:pt x="17404" y="2333"/>
                  <a:pt x="17404" y="0"/>
                </a:cubicBezTo>
                <a:cubicBezTo>
                  <a:pt x="0" y="0"/>
                  <a:pt x="444" y="0"/>
                  <a:pt x="0" y="0"/>
                </a:cubicBezTo>
                <a:close/>
              </a:path>
            </a:pathLst>
          </a:custGeom>
          <a:solidFill>
            <a:schemeClr val="accent2"/>
          </a:solidFill>
          <a:ln w="12700">
            <a:solidFill>
              <a:schemeClr val="bg1"/>
            </a:solidFill>
          </a:ln>
          <a:effectLst/>
        </p:spPr>
        <p:txBody>
          <a:bodyPr lIns="17143" tIns="17143" rIns="17143" bIns="17143"/>
          <a:lstStyle/>
          <a:p>
            <a:pPr defTabSz="342832">
              <a:defRPr/>
            </a:pPr>
            <a:endParaRPr lang="de-DE" sz="1400" dirty="0">
              <a:solidFill>
                <a:srgbClr val="000000"/>
              </a:solidFill>
              <a:latin typeface="Calibri" charset="0"/>
              <a:cs typeface="Calibri" charset="0"/>
              <a:sym typeface="Calibri" charset="0"/>
            </a:endParaRPr>
          </a:p>
        </p:txBody>
      </p:sp>
      <p:sp>
        <p:nvSpPr>
          <p:cNvPr id="8" name="AutoShape 14"/>
          <p:cNvSpPr>
            <a:spLocks/>
          </p:cNvSpPr>
          <p:nvPr>
            <p:custDataLst>
              <p:tags r:id="rId5"/>
            </p:custDataLst>
          </p:nvPr>
        </p:nvSpPr>
        <p:spPr bwMode="gray">
          <a:xfrm>
            <a:off x="6095332" y="2422288"/>
            <a:ext cx="1512000" cy="1550539"/>
          </a:xfrm>
          <a:custGeom>
            <a:avLst/>
            <a:gdLst>
              <a:gd name="T0" fmla="*/ 10773 w 21546"/>
              <a:gd name="T1" fmla="*/ 10800 h 21600"/>
              <a:gd name="T2" fmla="*/ 10773 w 21546"/>
              <a:gd name="T3" fmla="*/ 10800 h 21600"/>
              <a:gd name="T4" fmla="*/ 10773 w 21546"/>
              <a:gd name="T5" fmla="*/ 10800 h 21600"/>
              <a:gd name="T6" fmla="*/ 10773 w 21546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546" h="21600">
                <a:moveTo>
                  <a:pt x="0" y="0"/>
                </a:moveTo>
                <a:cubicBezTo>
                  <a:pt x="0" y="12337"/>
                  <a:pt x="0" y="17409"/>
                  <a:pt x="0" y="17409"/>
                </a:cubicBezTo>
                <a:cubicBezTo>
                  <a:pt x="2328" y="17409"/>
                  <a:pt x="4253" y="19272"/>
                  <a:pt x="4253" y="21599"/>
                </a:cubicBezTo>
                <a:cubicBezTo>
                  <a:pt x="21545" y="21599"/>
                  <a:pt x="21007" y="21599"/>
                  <a:pt x="21544" y="21599"/>
                </a:cubicBezTo>
                <a:cubicBezTo>
                  <a:pt x="21600" y="16054"/>
                  <a:pt x="19487" y="10491"/>
                  <a:pt x="15193" y="6260"/>
                </a:cubicBezTo>
                <a:cubicBezTo>
                  <a:pt x="10994" y="2124"/>
                  <a:pt x="5503" y="39"/>
                  <a:pt x="0" y="0"/>
                </a:cubicBezTo>
                <a:close/>
              </a:path>
            </a:pathLst>
          </a:custGeom>
          <a:solidFill>
            <a:schemeClr val="accent3"/>
          </a:solidFill>
          <a:ln w="12700">
            <a:solidFill>
              <a:schemeClr val="bg1"/>
            </a:solidFill>
          </a:ln>
          <a:effectLst/>
        </p:spPr>
        <p:txBody>
          <a:bodyPr lIns="17143" tIns="17143" rIns="17143" bIns="17143"/>
          <a:lstStyle/>
          <a:p>
            <a:pPr defTabSz="342832">
              <a:defRPr/>
            </a:pPr>
            <a:endParaRPr lang="de-DE" sz="1400" dirty="0">
              <a:solidFill>
                <a:srgbClr val="000000"/>
              </a:solidFill>
              <a:latin typeface="Calibri" charset="0"/>
              <a:cs typeface="Calibri" charset="0"/>
              <a:sym typeface="Calibri" charset="0"/>
            </a:endParaRPr>
          </a:p>
        </p:txBody>
      </p:sp>
      <p:sp>
        <p:nvSpPr>
          <p:cNvPr id="9" name="AutoShape 15"/>
          <p:cNvSpPr>
            <a:spLocks/>
          </p:cNvSpPr>
          <p:nvPr>
            <p:custDataLst>
              <p:tags r:id="rId6"/>
            </p:custDataLst>
          </p:nvPr>
        </p:nvSpPr>
        <p:spPr bwMode="gray">
          <a:xfrm>
            <a:off x="6095332" y="3972827"/>
            <a:ext cx="1512000" cy="1519641"/>
          </a:xfrm>
          <a:custGeom>
            <a:avLst/>
            <a:gdLst>
              <a:gd name="T0" fmla="*/ 10800 w 21600"/>
              <a:gd name="T1" fmla="*/ 10800 h 21600"/>
              <a:gd name="T2" fmla="*/ 10800 w 21600"/>
              <a:gd name="T3" fmla="*/ 10800 h 21600"/>
              <a:gd name="T4" fmla="*/ 10800 w 21600"/>
              <a:gd name="T5" fmla="*/ 10800 h 21600"/>
              <a:gd name="T6" fmla="*/ 10800 w 21600"/>
              <a:gd name="T7" fmla="*/ 10800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1600" h="21600">
                <a:moveTo>
                  <a:pt x="4264" y="0"/>
                </a:moveTo>
                <a:cubicBezTo>
                  <a:pt x="4264" y="2337"/>
                  <a:pt x="2334" y="4268"/>
                  <a:pt x="0" y="4268"/>
                </a:cubicBezTo>
                <a:cubicBezTo>
                  <a:pt x="0" y="21599"/>
                  <a:pt x="0" y="21053"/>
                  <a:pt x="0" y="21600"/>
                </a:cubicBezTo>
                <a:cubicBezTo>
                  <a:pt x="5517" y="21559"/>
                  <a:pt x="11022" y="19436"/>
                  <a:pt x="15232" y="15216"/>
                </a:cubicBezTo>
                <a:cubicBezTo>
                  <a:pt x="19427" y="11009"/>
                  <a:pt x="21545" y="5512"/>
                  <a:pt x="21599" y="0"/>
                </a:cubicBezTo>
                <a:cubicBezTo>
                  <a:pt x="9836" y="0"/>
                  <a:pt x="4264" y="0"/>
                  <a:pt x="4264" y="0"/>
                </a:cubicBezTo>
                <a:close/>
              </a:path>
            </a:pathLst>
          </a:custGeom>
          <a:solidFill>
            <a:schemeClr val="accent5"/>
          </a:solidFill>
          <a:ln w="12700">
            <a:solidFill>
              <a:schemeClr val="bg1"/>
            </a:solidFill>
          </a:ln>
          <a:effectLst/>
        </p:spPr>
        <p:txBody>
          <a:bodyPr lIns="17143" tIns="17143" rIns="17143" bIns="17143"/>
          <a:lstStyle/>
          <a:p>
            <a:pPr defTabSz="342832">
              <a:defRPr/>
            </a:pPr>
            <a:endParaRPr lang="de-DE" sz="1400" dirty="0">
              <a:solidFill>
                <a:srgbClr val="000000"/>
              </a:solidFill>
              <a:latin typeface="Calibri" charset="0"/>
              <a:cs typeface="Calibri" charset="0"/>
              <a:sym typeface="Calibri" charset="0"/>
            </a:endParaRPr>
          </a:p>
        </p:txBody>
      </p:sp>
      <p:cxnSp>
        <p:nvCxnSpPr>
          <p:cNvPr id="10" name="Gerader Verbinder 9"/>
          <p:cNvCxnSpPr/>
          <p:nvPr/>
        </p:nvCxnSpPr>
        <p:spPr>
          <a:xfrm flipH="1">
            <a:off x="693469" y="3980815"/>
            <a:ext cx="3716606" cy="0"/>
          </a:xfrm>
          <a:prstGeom prst="line">
            <a:avLst/>
          </a:prstGeom>
          <a:ln w="63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">
            <a:extLst>
              <a:ext uri="{FF2B5EF4-FFF2-40B4-BE49-F238E27FC236}">
                <a16:creationId xmlns:a16="http://schemas.microsoft.com/office/drawing/2014/main" id="{161B7DEC-B4E6-4099-9CA5-3F2A8506FA88}"/>
              </a:ext>
            </a:extLst>
          </p:cNvPr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695400" y="4221128"/>
            <a:ext cx="3348000" cy="288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1600" b="1"/>
            </a:lvl1pPr>
            <a:lvl2pPr marL="0" lvl="1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2pPr>
            <a:lvl3pPr marL="0" lvl="2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5pPr>
            <a:lvl6pPr marL="0" lvl="5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 smtClean="0"/>
              <a:t>Rechtlich</a:t>
            </a:r>
            <a:endParaRPr lang="de-DE" dirty="0"/>
          </a:p>
        </p:txBody>
      </p:sp>
      <p:sp>
        <p:nvSpPr>
          <p:cNvPr id="12" name="Textbox">
            <a:extLst>
              <a:ext uri="{FF2B5EF4-FFF2-40B4-BE49-F238E27FC236}">
                <a16:creationId xmlns:a16="http://schemas.microsoft.com/office/drawing/2014/main" id="{58931E67-B67F-4F4A-A673-6004DD9CE916}"/>
              </a:ext>
            </a:extLst>
          </p:cNvPr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8148230" y="4221128"/>
            <a:ext cx="3348372" cy="288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1600" b="1"/>
            </a:lvl1pPr>
            <a:lvl2pPr marL="0" lvl="1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2pPr>
            <a:lvl3pPr marL="0" lvl="2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5pPr>
            <a:lvl6pPr marL="0" lvl="5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 smtClean="0"/>
              <a:t>Finanziell</a:t>
            </a:r>
            <a:endParaRPr lang="de-DE" dirty="0"/>
          </a:p>
        </p:txBody>
      </p:sp>
      <p:sp>
        <p:nvSpPr>
          <p:cNvPr id="13" name="Textbox">
            <a:extLst>
              <a:ext uri="{FF2B5EF4-FFF2-40B4-BE49-F238E27FC236}">
                <a16:creationId xmlns:a16="http://schemas.microsoft.com/office/drawing/2014/main" id="{64007A30-5792-431A-907E-A93D254B6533}"/>
              </a:ext>
            </a:extLst>
          </p:cNvPr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8148230" y="2013754"/>
            <a:ext cx="3348372" cy="288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1600" b="1"/>
            </a:lvl1pPr>
            <a:lvl2pPr marL="0" lvl="1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2pPr>
            <a:lvl3pPr marL="0" lvl="2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5pPr>
            <a:lvl6pPr marL="0" lvl="5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 smtClean="0"/>
              <a:t>Fachlich</a:t>
            </a:r>
            <a:endParaRPr lang="de-DE" dirty="0"/>
          </a:p>
        </p:txBody>
      </p:sp>
      <p:sp>
        <p:nvSpPr>
          <p:cNvPr id="14" name="Textbox">
            <a:extLst>
              <a:ext uri="{FF2B5EF4-FFF2-40B4-BE49-F238E27FC236}">
                <a16:creationId xmlns:a16="http://schemas.microsoft.com/office/drawing/2014/main" id="{5C8CC46B-3C8D-4DB0-BEC3-8933B45D10DC}"/>
              </a:ext>
            </a:extLst>
          </p:cNvPr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695400" y="2013754"/>
            <a:ext cx="3348000" cy="28800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de-DE"/>
            </a:defPPr>
            <a:lvl1pPr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1600" b="1"/>
            </a:lvl1pPr>
            <a:lvl2pPr marL="0" lvl="1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2pPr>
            <a:lvl3pPr marL="0" lvl="2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3pPr>
            <a:lvl4pPr marL="0" lvl="3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5pPr>
            <a:lvl6pPr marL="0" lvl="5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None/>
              <a:defRPr sz="1600" b="1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 smtClean="0"/>
              <a:t>Organisatorisch</a:t>
            </a:r>
            <a:endParaRPr lang="de-DE" dirty="0"/>
          </a:p>
        </p:txBody>
      </p:sp>
      <p:sp>
        <p:nvSpPr>
          <p:cNvPr id="15" name="TextBox 80">
            <a:extLst>
              <a:ext uri="{FF2B5EF4-FFF2-40B4-BE49-F238E27FC236}">
                <a16:creationId xmlns:a16="http://schemas.microsoft.com/office/drawing/2014/main" id="{4C8257BF-18A4-46C0-82BA-79AE945101E4}"/>
              </a:ext>
            </a:extLst>
          </p:cNvPr>
          <p:cNvSpPr txBox="1">
            <a:spLocks/>
          </p:cNvSpPr>
          <p:nvPr/>
        </p:nvSpPr>
        <p:spPr>
          <a:xfrm>
            <a:off x="695400" y="4581128"/>
            <a:ext cx="3348000" cy="12241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de-DE" sz="1200" b="0" dirty="0" smtClean="0"/>
              <a:t>Zeichnung AVV durch ABH</a:t>
            </a:r>
          </a:p>
          <a:p>
            <a:pPr marL="285750" indent="-285750">
              <a:buFontTx/>
              <a:buChar char="-"/>
            </a:pPr>
            <a:r>
              <a:rPr lang="de-DE" sz="1200" b="0" dirty="0" smtClean="0"/>
              <a:t>Nachnutzung über FIT-Store auf Ebene des Landes</a:t>
            </a:r>
            <a:endParaRPr lang="de-DE" sz="1200" b="0" dirty="0"/>
          </a:p>
        </p:txBody>
      </p:sp>
      <p:sp>
        <p:nvSpPr>
          <p:cNvPr id="16" name="TextBox 81">
            <a:extLst>
              <a:ext uri="{FF2B5EF4-FFF2-40B4-BE49-F238E27FC236}">
                <a16:creationId xmlns:a16="http://schemas.microsoft.com/office/drawing/2014/main" id="{1C0C8A7E-621A-452E-8EE5-5F5EFABBDD98}"/>
              </a:ext>
            </a:extLst>
          </p:cNvPr>
          <p:cNvSpPr txBox="1">
            <a:spLocks/>
          </p:cNvSpPr>
          <p:nvPr/>
        </p:nvSpPr>
        <p:spPr>
          <a:xfrm>
            <a:off x="8148230" y="4581128"/>
            <a:ext cx="3348372" cy="12241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de-DE" sz="1200" b="0" dirty="0" smtClean="0"/>
              <a:t>Bis 31.12.2023: Keine Kosten </a:t>
            </a:r>
            <a:r>
              <a:rPr lang="de-DE" sz="1200" b="0" dirty="0"/>
              <a:t>für Wartung, Betrieb, Support und </a:t>
            </a:r>
            <a:r>
              <a:rPr lang="de-DE" sz="1200" b="0" dirty="0" err="1"/>
              <a:t>Onboarding</a:t>
            </a:r>
            <a:r>
              <a:rPr lang="de-DE" sz="1200" b="0" dirty="0"/>
              <a:t> </a:t>
            </a:r>
            <a:r>
              <a:rPr lang="de-DE" sz="1200" b="0" dirty="0" smtClean="0"/>
              <a:t>für ABH</a:t>
            </a:r>
          </a:p>
          <a:p>
            <a:pPr marL="285750" indent="-285750">
              <a:buFontTx/>
              <a:buChar char="-"/>
            </a:pPr>
            <a:r>
              <a:rPr lang="de-DE" sz="1200" b="0" dirty="0"/>
              <a:t>Ab </a:t>
            </a:r>
            <a:r>
              <a:rPr lang="de-DE" sz="1200" b="0" dirty="0" smtClean="0"/>
              <a:t>2024: Keine </a:t>
            </a:r>
            <a:r>
              <a:rPr lang="de-DE" sz="1200" b="0" dirty="0"/>
              <a:t>weiteren Mittel des </a:t>
            </a:r>
            <a:r>
              <a:rPr lang="de-DE" sz="1200" b="0" dirty="0" smtClean="0"/>
              <a:t>Bundes und Weitergabe </a:t>
            </a:r>
            <a:r>
              <a:rPr lang="de-DE" sz="1200" b="0" dirty="0"/>
              <a:t>der Kosten in Ländern </a:t>
            </a:r>
            <a:r>
              <a:rPr lang="de-DE" sz="1200" b="0" dirty="0" smtClean="0"/>
              <a:t>individuell</a:t>
            </a:r>
            <a:endParaRPr lang="de-DE" sz="1200" b="0" dirty="0"/>
          </a:p>
          <a:p>
            <a:pPr marL="555750" lvl="1" indent="-285750">
              <a:buFontTx/>
              <a:buChar char="-"/>
            </a:pPr>
            <a:endParaRPr lang="de-DE" sz="1200" b="0" dirty="0" smtClean="0"/>
          </a:p>
        </p:txBody>
      </p:sp>
      <p:sp>
        <p:nvSpPr>
          <p:cNvPr id="17" name="TextBox 78">
            <a:extLst>
              <a:ext uri="{FF2B5EF4-FFF2-40B4-BE49-F238E27FC236}">
                <a16:creationId xmlns:a16="http://schemas.microsoft.com/office/drawing/2014/main" id="{1002E816-7222-4978-9B1D-04AB16EF2AEB}"/>
              </a:ext>
            </a:extLst>
          </p:cNvPr>
          <p:cNvSpPr txBox="1">
            <a:spLocks/>
          </p:cNvSpPr>
          <p:nvPr/>
        </p:nvSpPr>
        <p:spPr>
          <a:xfrm>
            <a:off x="8148230" y="2373754"/>
            <a:ext cx="3348372" cy="12241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de-DE" sz="1200" b="0" dirty="0" smtClean="0"/>
              <a:t>Zwingender Einsatz ePayment</a:t>
            </a:r>
          </a:p>
          <a:p>
            <a:pPr marL="285750" indent="-285750">
              <a:buFontTx/>
              <a:buChar char="-"/>
            </a:pPr>
            <a:r>
              <a:rPr lang="de-DE" sz="1200" b="0" dirty="0" smtClean="0"/>
              <a:t>Anbindung </a:t>
            </a:r>
            <a:r>
              <a:rPr lang="de-DE" sz="1200" b="0" dirty="0" err="1" smtClean="0"/>
              <a:t>BundID</a:t>
            </a:r>
            <a:r>
              <a:rPr lang="de-DE" sz="1200" b="0" dirty="0" smtClean="0"/>
              <a:t> und Mein Unternehmenskonto zur Authentifizierung</a:t>
            </a:r>
          </a:p>
          <a:p>
            <a:pPr marL="285750" indent="-285750">
              <a:buFontTx/>
              <a:buChar char="-"/>
            </a:pPr>
            <a:r>
              <a:rPr lang="de-DE" sz="1200" b="0" dirty="0" smtClean="0"/>
              <a:t>Anbindung der Fachverfahren auf Basis von XAusländer </a:t>
            </a:r>
            <a:endParaRPr lang="de-DE" sz="1200" b="0" dirty="0"/>
          </a:p>
        </p:txBody>
      </p:sp>
      <p:sp>
        <p:nvSpPr>
          <p:cNvPr id="18" name="TextBox 77">
            <a:extLst>
              <a:ext uri="{FF2B5EF4-FFF2-40B4-BE49-F238E27FC236}">
                <a16:creationId xmlns:a16="http://schemas.microsoft.com/office/drawing/2014/main" id="{2416671F-CCF3-41E4-B6A8-34D201FF2D0C}"/>
              </a:ext>
            </a:extLst>
          </p:cNvPr>
          <p:cNvSpPr txBox="1">
            <a:spLocks/>
          </p:cNvSpPr>
          <p:nvPr/>
        </p:nvSpPr>
        <p:spPr>
          <a:xfrm>
            <a:off x="695400" y="2373754"/>
            <a:ext cx="3348000" cy="122413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8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350000" indent="-2700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Tx/>
              <a:buChar char="-"/>
            </a:pPr>
            <a:r>
              <a:rPr lang="de-DE" sz="1200" b="0" dirty="0" smtClean="0"/>
              <a:t>Rollout parallel zur Zeichnung von Nachnutzungsverträgen</a:t>
            </a:r>
          </a:p>
          <a:p>
            <a:pPr marL="285750" indent="-285750">
              <a:buFontTx/>
              <a:buChar char="-"/>
            </a:pPr>
            <a:r>
              <a:rPr lang="de-DE" sz="1200" b="0" dirty="0" smtClean="0"/>
              <a:t>Interessenbekundungen über</a:t>
            </a:r>
          </a:p>
          <a:p>
            <a:pPr marL="555750" lvl="1" indent="-285750">
              <a:buFontTx/>
              <a:buChar char="-"/>
            </a:pPr>
            <a:r>
              <a:rPr lang="de-DE" sz="1200" b="0" dirty="0" smtClean="0">
                <a:hlinkClick r:id="rId18"/>
              </a:rPr>
              <a:t>verpflichtungserklaerung-support@ekom21.de</a:t>
            </a:r>
            <a:r>
              <a:rPr lang="de-DE" sz="1200" b="0" dirty="0" smtClean="0"/>
              <a:t> </a:t>
            </a:r>
          </a:p>
          <a:p>
            <a:pPr marL="555750" lvl="1" indent="-285750">
              <a:buFontTx/>
              <a:buChar char="-"/>
            </a:pPr>
            <a:r>
              <a:rPr lang="de-DE" sz="1200" b="0" dirty="0" smtClean="0">
                <a:hlinkClick r:id="rId19"/>
              </a:rPr>
              <a:t>ozg-ve@hmdis.hessen.de</a:t>
            </a:r>
            <a:r>
              <a:rPr lang="de-DE" sz="1200" b="0" dirty="0" smtClean="0"/>
              <a:t> </a:t>
            </a:r>
            <a:endParaRPr lang="de-DE" sz="1200" b="0" dirty="0"/>
          </a:p>
          <a:p>
            <a:pPr marL="555750" lvl="1" indent="-285750">
              <a:buFontTx/>
              <a:buChar char="-"/>
            </a:pPr>
            <a:r>
              <a:rPr lang="de-DE" sz="1200" b="0" dirty="0" smtClean="0"/>
              <a:t>Cc.: </a:t>
            </a:r>
            <a:r>
              <a:rPr lang="de-DE" sz="1200" b="0" dirty="0" smtClean="0">
                <a:hlinkClick r:id="rId20"/>
              </a:rPr>
              <a:t>OZG-EA@mik.brandenburg.de</a:t>
            </a:r>
            <a:r>
              <a:rPr lang="de-DE" sz="1200" b="0" dirty="0" smtClean="0"/>
              <a:t> </a:t>
            </a:r>
            <a:endParaRPr lang="de-DE" sz="1200" b="0" dirty="0"/>
          </a:p>
        </p:txBody>
      </p:sp>
      <p:cxnSp>
        <p:nvCxnSpPr>
          <p:cNvPr id="19" name="Gerader Verbinder 18"/>
          <p:cNvCxnSpPr/>
          <p:nvPr/>
        </p:nvCxnSpPr>
        <p:spPr>
          <a:xfrm>
            <a:off x="6096000" y="5727644"/>
            <a:ext cx="0" cy="578700"/>
          </a:xfrm>
          <a:prstGeom prst="line">
            <a:avLst/>
          </a:prstGeom>
          <a:ln w="63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/>
          <p:cNvCxnSpPr/>
          <p:nvPr/>
        </p:nvCxnSpPr>
        <p:spPr>
          <a:xfrm flipH="1">
            <a:off x="7775573" y="3980815"/>
            <a:ext cx="3716606" cy="0"/>
          </a:xfrm>
          <a:prstGeom prst="line">
            <a:avLst/>
          </a:prstGeom>
          <a:ln w="63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1" name="easyIcon">
            <a:extLst>
              <a:ext uri="{FF2B5EF4-FFF2-40B4-BE49-F238E27FC236}">
                <a16:creationId xmlns:a16="http://schemas.microsoft.com/office/drawing/2014/main" id="{3B240192-7D43-4D50-9882-E3154B27E743}"/>
              </a:ext>
            </a:extLst>
          </p:cNvPr>
          <p:cNvGrpSpPr>
            <a:grpSpLocks noChangeAspect="1"/>
          </p:cNvGrpSpPr>
          <p:nvPr>
            <p:custDataLst>
              <p:tags r:id="rId11"/>
            </p:custDataLst>
          </p:nvPr>
        </p:nvGrpSpPr>
        <p:grpSpPr>
          <a:xfrm>
            <a:off x="5020087" y="3051249"/>
            <a:ext cx="648001" cy="648001"/>
            <a:chOff x="3414706" y="1638208"/>
            <a:chExt cx="535538" cy="535538"/>
          </a:xfrm>
        </p:grpSpPr>
        <p:sp>
          <p:nvSpPr>
            <p:cNvPr id="22" name="Background">
              <a:extLst>
                <a:ext uri="{FF2B5EF4-FFF2-40B4-BE49-F238E27FC236}">
                  <a16:creationId xmlns:a16="http://schemas.microsoft.com/office/drawing/2014/main" id="{CC99B4B5-6686-486D-BD71-F7E5EBD4FED0}"/>
                </a:ext>
              </a:extLst>
            </p:cNvPr>
            <p:cNvSpPr/>
            <p:nvPr/>
          </p:nvSpPr>
          <p:spPr>
            <a:xfrm>
              <a:off x="3414706" y="1638208"/>
              <a:ext cx="535538" cy="53553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C800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C8C800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grpSp>
          <p:nvGrpSpPr>
            <p:cNvPr id="23" name="Grafik 49">
              <a:extLst>
                <a:ext uri="{FF2B5EF4-FFF2-40B4-BE49-F238E27FC236}">
                  <a16:creationId xmlns:a16="http://schemas.microsoft.com/office/drawing/2014/main" id="{B11BA1BC-8742-4937-81D4-10A015B0D35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3520476" y="1743977"/>
              <a:ext cx="324000" cy="324000"/>
              <a:chOff x="3520476" y="1743977"/>
              <a:chExt cx="590550" cy="590550"/>
            </a:xfrm>
            <a:solidFill>
              <a:srgbClr val="03878A"/>
            </a:solidFill>
          </p:grpSpPr>
          <p:sp>
            <p:nvSpPr>
              <p:cNvPr id="24" name="Vector">
                <a:extLst>
                  <a:ext uri="{FF2B5EF4-FFF2-40B4-BE49-F238E27FC236}">
                    <a16:creationId xmlns:a16="http://schemas.microsoft.com/office/drawing/2014/main" id="{F2BC4F39-DAB9-4853-8B40-ADE09C45CD23}"/>
                  </a:ext>
                </a:extLst>
              </p:cNvPr>
              <p:cNvSpPr/>
              <p:nvPr/>
            </p:nvSpPr>
            <p:spPr bwMode="gray">
              <a:xfrm>
                <a:off x="3834801" y="1839227"/>
                <a:ext cx="200025" cy="142875"/>
              </a:xfrm>
              <a:custGeom>
                <a:avLst/>
                <a:gdLst>
                  <a:gd name="connsiteX0" fmla="*/ 200025 w 200025"/>
                  <a:gd name="connsiteY0" fmla="*/ 142875 h 142875"/>
                  <a:gd name="connsiteX1" fmla="*/ 180975 w 200025"/>
                  <a:gd name="connsiteY1" fmla="*/ 142875 h 142875"/>
                  <a:gd name="connsiteX2" fmla="*/ 180975 w 200025"/>
                  <a:gd name="connsiteY2" fmla="*/ 85725 h 142875"/>
                  <a:gd name="connsiteX3" fmla="*/ 114300 w 200025"/>
                  <a:gd name="connsiteY3" fmla="*/ 19050 h 142875"/>
                  <a:gd name="connsiteX4" fmla="*/ 0 w 200025"/>
                  <a:gd name="connsiteY4" fmla="*/ 19050 h 142875"/>
                  <a:gd name="connsiteX5" fmla="*/ 0 w 200025"/>
                  <a:gd name="connsiteY5" fmla="*/ 0 h 142875"/>
                  <a:gd name="connsiteX6" fmla="*/ 114300 w 200025"/>
                  <a:gd name="connsiteY6" fmla="*/ 0 h 142875"/>
                  <a:gd name="connsiteX7" fmla="*/ 200025 w 200025"/>
                  <a:gd name="connsiteY7" fmla="*/ 85725 h 142875"/>
                  <a:gd name="connsiteX8" fmla="*/ 200025 w 200025"/>
                  <a:gd name="connsiteY8" fmla="*/ 14287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0025" h="142875">
                    <a:moveTo>
                      <a:pt x="200025" y="142875"/>
                    </a:moveTo>
                    <a:lnTo>
                      <a:pt x="180975" y="142875"/>
                    </a:lnTo>
                    <a:lnTo>
                      <a:pt x="180975" y="85725"/>
                    </a:lnTo>
                    <a:cubicBezTo>
                      <a:pt x="180975" y="48958"/>
                      <a:pt x="151057" y="19050"/>
                      <a:pt x="114300" y="19050"/>
                    </a:cubicBezTo>
                    <a:lnTo>
                      <a:pt x="0" y="19050"/>
                    </a:lnTo>
                    <a:lnTo>
                      <a:pt x="0" y="0"/>
                    </a:lnTo>
                    <a:lnTo>
                      <a:pt x="114300" y="0"/>
                    </a:lnTo>
                    <a:cubicBezTo>
                      <a:pt x="161573" y="0"/>
                      <a:pt x="200025" y="38462"/>
                      <a:pt x="200025" y="85725"/>
                    </a:cubicBezTo>
                    <a:lnTo>
                      <a:pt x="200025" y="14287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Vector">
                <a:extLst>
                  <a:ext uri="{FF2B5EF4-FFF2-40B4-BE49-F238E27FC236}">
                    <a16:creationId xmlns:a16="http://schemas.microsoft.com/office/drawing/2014/main" id="{948601FE-308E-444A-8A79-DC780333465D}"/>
                  </a:ext>
                </a:extLst>
              </p:cNvPr>
              <p:cNvSpPr/>
              <p:nvPr/>
            </p:nvSpPr>
            <p:spPr bwMode="gray">
              <a:xfrm>
                <a:off x="3821332" y="1759083"/>
                <a:ext cx="103136" cy="179336"/>
              </a:xfrm>
              <a:custGeom>
                <a:avLst/>
                <a:gdLst>
                  <a:gd name="connsiteX0" fmla="*/ 89668 w 103136"/>
                  <a:gd name="connsiteY0" fmla="*/ 179337 h 179336"/>
                  <a:gd name="connsiteX1" fmla="*/ 0 w 103136"/>
                  <a:gd name="connsiteY1" fmla="*/ 89668 h 179336"/>
                  <a:gd name="connsiteX2" fmla="*/ 89668 w 103136"/>
                  <a:gd name="connsiteY2" fmla="*/ 0 h 179336"/>
                  <a:gd name="connsiteX3" fmla="*/ 103137 w 103136"/>
                  <a:gd name="connsiteY3" fmla="*/ 13468 h 179336"/>
                  <a:gd name="connsiteX4" fmla="*/ 26937 w 103136"/>
                  <a:gd name="connsiteY4" fmla="*/ 89668 h 179336"/>
                  <a:gd name="connsiteX5" fmla="*/ 103137 w 103136"/>
                  <a:gd name="connsiteY5" fmla="*/ 165868 h 17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3136" h="179336">
                    <a:moveTo>
                      <a:pt x="89668" y="179337"/>
                    </a:moveTo>
                    <a:lnTo>
                      <a:pt x="0" y="89668"/>
                    </a:lnTo>
                    <a:lnTo>
                      <a:pt x="89668" y="0"/>
                    </a:lnTo>
                    <a:lnTo>
                      <a:pt x="103137" y="13468"/>
                    </a:lnTo>
                    <a:lnTo>
                      <a:pt x="26937" y="89668"/>
                    </a:lnTo>
                    <a:lnTo>
                      <a:pt x="103137" y="16586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Vector">
                <a:extLst>
                  <a:ext uri="{FF2B5EF4-FFF2-40B4-BE49-F238E27FC236}">
                    <a16:creationId xmlns:a16="http://schemas.microsoft.com/office/drawing/2014/main" id="{D2AC7695-D1FF-42C0-9AD6-5A78D5B547CC}"/>
                  </a:ext>
                </a:extLst>
              </p:cNvPr>
              <p:cNvSpPr/>
              <p:nvPr/>
            </p:nvSpPr>
            <p:spPr bwMode="gray">
              <a:xfrm>
                <a:off x="3596676" y="2096402"/>
                <a:ext cx="200025" cy="142875"/>
              </a:xfrm>
              <a:custGeom>
                <a:avLst/>
                <a:gdLst>
                  <a:gd name="connsiteX0" fmla="*/ 200025 w 200025"/>
                  <a:gd name="connsiteY0" fmla="*/ 142875 h 142875"/>
                  <a:gd name="connsiteX1" fmla="*/ 85725 w 200025"/>
                  <a:gd name="connsiteY1" fmla="*/ 142875 h 142875"/>
                  <a:gd name="connsiteX2" fmla="*/ 0 w 200025"/>
                  <a:gd name="connsiteY2" fmla="*/ 57150 h 142875"/>
                  <a:gd name="connsiteX3" fmla="*/ 0 w 200025"/>
                  <a:gd name="connsiteY3" fmla="*/ 0 h 142875"/>
                  <a:gd name="connsiteX4" fmla="*/ 19050 w 200025"/>
                  <a:gd name="connsiteY4" fmla="*/ 0 h 142875"/>
                  <a:gd name="connsiteX5" fmla="*/ 19050 w 200025"/>
                  <a:gd name="connsiteY5" fmla="*/ 57150 h 142875"/>
                  <a:gd name="connsiteX6" fmla="*/ 85725 w 200025"/>
                  <a:gd name="connsiteY6" fmla="*/ 123825 h 142875"/>
                  <a:gd name="connsiteX7" fmla="*/ 200025 w 200025"/>
                  <a:gd name="connsiteY7" fmla="*/ 123825 h 142875"/>
                  <a:gd name="connsiteX8" fmla="*/ 200025 w 200025"/>
                  <a:gd name="connsiteY8" fmla="*/ 14287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200025" h="142875">
                    <a:moveTo>
                      <a:pt x="200025" y="142875"/>
                    </a:moveTo>
                    <a:lnTo>
                      <a:pt x="85725" y="142875"/>
                    </a:lnTo>
                    <a:cubicBezTo>
                      <a:pt x="38462" y="142875"/>
                      <a:pt x="0" y="104423"/>
                      <a:pt x="0" y="57150"/>
                    </a:cubicBezTo>
                    <a:lnTo>
                      <a:pt x="0" y="0"/>
                    </a:lnTo>
                    <a:lnTo>
                      <a:pt x="19050" y="0"/>
                    </a:lnTo>
                    <a:lnTo>
                      <a:pt x="19050" y="57150"/>
                    </a:lnTo>
                    <a:cubicBezTo>
                      <a:pt x="19050" y="93907"/>
                      <a:pt x="48959" y="123825"/>
                      <a:pt x="85725" y="123825"/>
                    </a:cubicBezTo>
                    <a:lnTo>
                      <a:pt x="200025" y="123825"/>
                    </a:lnTo>
                    <a:lnTo>
                      <a:pt x="200025" y="14287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27" name="Vector">
                <a:extLst>
                  <a:ext uri="{FF2B5EF4-FFF2-40B4-BE49-F238E27FC236}">
                    <a16:creationId xmlns:a16="http://schemas.microsoft.com/office/drawing/2014/main" id="{57EA42D6-FCCD-42F0-BD14-2C4215470B10}"/>
                  </a:ext>
                </a:extLst>
              </p:cNvPr>
              <p:cNvSpPr/>
              <p:nvPr/>
            </p:nvSpPr>
            <p:spPr bwMode="gray">
              <a:xfrm>
                <a:off x="3707032" y="2140083"/>
                <a:ext cx="103136" cy="179336"/>
              </a:xfrm>
              <a:custGeom>
                <a:avLst/>
                <a:gdLst>
                  <a:gd name="connsiteX0" fmla="*/ 13468 w 103136"/>
                  <a:gd name="connsiteY0" fmla="*/ 179337 h 179336"/>
                  <a:gd name="connsiteX1" fmla="*/ 0 w 103136"/>
                  <a:gd name="connsiteY1" fmla="*/ 165868 h 179336"/>
                  <a:gd name="connsiteX2" fmla="*/ 76200 w 103136"/>
                  <a:gd name="connsiteY2" fmla="*/ 89668 h 179336"/>
                  <a:gd name="connsiteX3" fmla="*/ 0 w 103136"/>
                  <a:gd name="connsiteY3" fmla="*/ 13468 h 179336"/>
                  <a:gd name="connsiteX4" fmla="*/ 13468 w 103136"/>
                  <a:gd name="connsiteY4" fmla="*/ 0 h 179336"/>
                  <a:gd name="connsiteX5" fmla="*/ 103137 w 103136"/>
                  <a:gd name="connsiteY5" fmla="*/ 89668 h 1793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03136" h="179336">
                    <a:moveTo>
                      <a:pt x="13468" y="179337"/>
                    </a:moveTo>
                    <a:lnTo>
                      <a:pt x="0" y="165868"/>
                    </a:lnTo>
                    <a:lnTo>
                      <a:pt x="76200" y="89668"/>
                    </a:lnTo>
                    <a:lnTo>
                      <a:pt x="0" y="13468"/>
                    </a:lnTo>
                    <a:lnTo>
                      <a:pt x="13468" y="0"/>
                    </a:lnTo>
                    <a:lnTo>
                      <a:pt x="103137" y="89668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Vector">
                <a:extLst>
                  <a:ext uri="{FF2B5EF4-FFF2-40B4-BE49-F238E27FC236}">
                    <a16:creationId xmlns:a16="http://schemas.microsoft.com/office/drawing/2014/main" id="{01133DA1-A6A2-4CB8-8C66-6FF81BF501E3}"/>
                  </a:ext>
                </a:extLst>
              </p:cNvPr>
              <p:cNvSpPr/>
              <p:nvPr/>
            </p:nvSpPr>
            <p:spPr bwMode="gray">
              <a:xfrm>
                <a:off x="3520476" y="1915427"/>
                <a:ext cx="247650" cy="95250"/>
              </a:xfrm>
              <a:custGeom>
                <a:avLst/>
                <a:gdLst>
                  <a:gd name="connsiteX0" fmla="*/ 247650 w 247650"/>
                  <a:gd name="connsiteY0" fmla="*/ 95250 h 95250"/>
                  <a:gd name="connsiteX1" fmla="*/ 0 w 247650"/>
                  <a:gd name="connsiteY1" fmla="*/ 95250 h 95250"/>
                  <a:gd name="connsiteX2" fmla="*/ 0 w 247650"/>
                  <a:gd name="connsiteY2" fmla="*/ 66799 h 95250"/>
                  <a:gd name="connsiteX3" fmla="*/ 23203 w 247650"/>
                  <a:gd name="connsiteY3" fmla="*/ 25879 h 95250"/>
                  <a:gd name="connsiteX4" fmla="*/ 123825 w 247650"/>
                  <a:gd name="connsiteY4" fmla="*/ 0 h 95250"/>
                  <a:gd name="connsiteX5" fmla="*/ 224238 w 247650"/>
                  <a:gd name="connsiteY5" fmla="*/ 25956 h 95250"/>
                  <a:gd name="connsiteX6" fmla="*/ 247650 w 247650"/>
                  <a:gd name="connsiteY6" fmla="*/ 67008 h 95250"/>
                  <a:gd name="connsiteX7" fmla="*/ 247650 w 247650"/>
                  <a:gd name="connsiteY7" fmla="*/ 95250 h 95250"/>
                  <a:gd name="connsiteX8" fmla="*/ 19050 w 247650"/>
                  <a:gd name="connsiteY8" fmla="*/ 76200 h 95250"/>
                  <a:gd name="connsiteX9" fmla="*/ 228600 w 247650"/>
                  <a:gd name="connsiteY9" fmla="*/ 76200 h 95250"/>
                  <a:gd name="connsiteX10" fmla="*/ 228600 w 247650"/>
                  <a:gd name="connsiteY10" fmla="*/ 67008 h 95250"/>
                  <a:gd name="connsiteX11" fmla="*/ 214541 w 247650"/>
                  <a:gd name="connsiteY11" fmla="*/ 42358 h 95250"/>
                  <a:gd name="connsiteX12" fmla="*/ 123825 w 247650"/>
                  <a:gd name="connsiteY12" fmla="*/ 19050 h 95250"/>
                  <a:gd name="connsiteX13" fmla="*/ 32966 w 247650"/>
                  <a:gd name="connsiteY13" fmla="*/ 42234 h 95250"/>
                  <a:gd name="connsiteX14" fmla="*/ 19050 w 247650"/>
                  <a:gd name="connsiteY14" fmla="*/ 66799 h 95250"/>
                  <a:gd name="connsiteX15" fmla="*/ 19050 w 247650"/>
                  <a:gd name="connsiteY15" fmla="*/ 7620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7650" h="95250">
                    <a:moveTo>
                      <a:pt x="247650" y="95250"/>
                    </a:moveTo>
                    <a:lnTo>
                      <a:pt x="0" y="95250"/>
                    </a:lnTo>
                    <a:lnTo>
                      <a:pt x="0" y="66799"/>
                    </a:lnTo>
                    <a:cubicBezTo>
                      <a:pt x="0" y="50102"/>
                      <a:pt x="8887" y="34423"/>
                      <a:pt x="23203" y="25879"/>
                    </a:cubicBezTo>
                    <a:cubicBezTo>
                      <a:pt x="42977" y="14068"/>
                      <a:pt x="76476" y="0"/>
                      <a:pt x="123825" y="0"/>
                    </a:cubicBezTo>
                    <a:cubicBezTo>
                      <a:pt x="170555" y="0"/>
                      <a:pt x="204226" y="14116"/>
                      <a:pt x="224238" y="25956"/>
                    </a:cubicBezTo>
                    <a:cubicBezTo>
                      <a:pt x="238687" y="34509"/>
                      <a:pt x="247650" y="50235"/>
                      <a:pt x="247650" y="67008"/>
                    </a:cubicBezTo>
                    <a:lnTo>
                      <a:pt x="247650" y="95250"/>
                    </a:lnTo>
                    <a:close/>
                    <a:moveTo>
                      <a:pt x="19050" y="76200"/>
                    </a:moveTo>
                    <a:lnTo>
                      <a:pt x="228600" y="76200"/>
                    </a:lnTo>
                    <a:lnTo>
                      <a:pt x="228600" y="67008"/>
                    </a:lnTo>
                    <a:cubicBezTo>
                      <a:pt x="228600" y="56779"/>
                      <a:pt x="223342" y="47568"/>
                      <a:pt x="214541" y="42358"/>
                    </a:cubicBezTo>
                    <a:cubicBezTo>
                      <a:pt x="196567" y="31728"/>
                      <a:pt x="166249" y="19050"/>
                      <a:pt x="123825" y="19050"/>
                    </a:cubicBezTo>
                    <a:cubicBezTo>
                      <a:pt x="80820" y="19050"/>
                      <a:pt x="50673" y="31652"/>
                      <a:pt x="32966" y="42234"/>
                    </a:cubicBezTo>
                    <a:cubicBezTo>
                      <a:pt x="24251" y="47434"/>
                      <a:pt x="19050" y="56617"/>
                      <a:pt x="19050" y="66799"/>
                    </a:cubicBezTo>
                    <a:lnTo>
                      <a:pt x="19050" y="762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29" name="Vector">
                <a:extLst>
                  <a:ext uri="{FF2B5EF4-FFF2-40B4-BE49-F238E27FC236}">
                    <a16:creationId xmlns:a16="http://schemas.microsoft.com/office/drawing/2014/main" id="{E9C66C48-BCF1-4A92-B868-4AADB556E585}"/>
                  </a:ext>
                </a:extLst>
              </p:cNvPr>
              <p:cNvSpPr/>
              <p:nvPr/>
            </p:nvSpPr>
            <p:spPr bwMode="gray">
              <a:xfrm>
                <a:off x="3577626" y="1743977"/>
                <a:ext cx="133350" cy="133350"/>
              </a:xfrm>
              <a:custGeom>
                <a:avLst/>
                <a:gdLst>
                  <a:gd name="connsiteX0" fmla="*/ 66675 w 133350"/>
                  <a:gd name="connsiteY0" fmla="*/ 133350 h 133350"/>
                  <a:gd name="connsiteX1" fmla="*/ 0 w 133350"/>
                  <a:gd name="connsiteY1" fmla="*/ 66675 h 133350"/>
                  <a:gd name="connsiteX2" fmla="*/ 66675 w 133350"/>
                  <a:gd name="connsiteY2" fmla="*/ 0 h 133350"/>
                  <a:gd name="connsiteX3" fmla="*/ 133350 w 133350"/>
                  <a:gd name="connsiteY3" fmla="*/ 66675 h 133350"/>
                  <a:gd name="connsiteX4" fmla="*/ 66675 w 133350"/>
                  <a:gd name="connsiteY4" fmla="*/ 133350 h 133350"/>
                  <a:gd name="connsiteX5" fmla="*/ 66675 w 133350"/>
                  <a:gd name="connsiteY5" fmla="*/ 19050 h 133350"/>
                  <a:gd name="connsiteX6" fmla="*/ 19050 w 133350"/>
                  <a:gd name="connsiteY6" fmla="*/ 66675 h 133350"/>
                  <a:gd name="connsiteX7" fmla="*/ 66675 w 133350"/>
                  <a:gd name="connsiteY7" fmla="*/ 114300 h 133350"/>
                  <a:gd name="connsiteX8" fmla="*/ 114300 w 133350"/>
                  <a:gd name="connsiteY8" fmla="*/ 66675 h 133350"/>
                  <a:gd name="connsiteX9" fmla="*/ 66675 w 133350"/>
                  <a:gd name="connsiteY9" fmla="*/ 1905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3350" h="133350">
                    <a:moveTo>
                      <a:pt x="66675" y="133350"/>
                    </a:moveTo>
                    <a:cubicBezTo>
                      <a:pt x="29909" y="133350"/>
                      <a:pt x="0" y="103442"/>
                      <a:pt x="0" y="66675"/>
                    </a:cubicBezTo>
                    <a:cubicBezTo>
                      <a:pt x="0" y="29908"/>
                      <a:pt x="29909" y="0"/>
                      <a:pt x="66675" y="0"/>
                    </a:cubicBezTo>
                    <a:cubicBezTo>
                      <a:pt x="103442" y="0"/>
                      <a:pt x="133350" y="29908"/>
                      <a:pt x="133350" y="66675"/>
                    </a:cubicBezTo>
                    <a:cubicBezTo>
                      <a:pt x="133350" y="103442"/>
                      <a:pt x="103442" y="133350"/>
                      <a:pt x="66675" y="133350"/>
                    </a:cubicBezTo>
                    <a:close/>
                    <a:moveTo>
                      <a:pt x="66675" y="19050"/>
                    </a:moveTo>
                    <a:cubicBezTo>
                      <a:pt x="40415" y="19050"/>
                      <a:pt x="19050" y="40415"/>
                      <a:pt x="19050" y="66675"/>
                    </a:cubicBezTo>
                    <a:cubicBezTo>
                      <a:pt x="19050" y="92935"/>
                      <a:pt x="40415" y="114300"/>
                      <a:pt x="66675" y="114300"/>
                    </a:cubicBezTo>
                    <a:cubicBezTo>
                      <a:pt x="92935" y="114300"/>
                      <a:pt x="114300" y="92935"/>
                      <a:pt x="114300" y="66675"/>
                    </a:cubicBezTo>
                    <a:cubicBezTo>
                      <a:pt x="114300" y="40415"/>
                      <a:pt x="92935" y="19050"/>
                      <a:pt x="66675" y="1905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30" name="Vector">
                <a:extLst>
                  <a:ext uri="{FF2B5EF4-FFF2-40B4-BE49-F238E27FC236}">
                    <a16:creationId xmlns:a16="http://schemas.microsoft.com/office/drawing/2014/main" id="{266541A9-07FC-406F-B3A1-13E640D2639B}"/>
                  </a:ext>
                </a:extLst>
              </p:cNvPr>
              <p:cNvSpPr/>
              <p:nvPr/>
            </p:nvSpPr>
            <p:spPr bwMode="gray">
              <a:xfrm>
                <a:off x="3863376" y="2239277"/>
                <a:ext cx="247650" cy="95250"/>
              </a:xfrm>
              <a:custGeom>
                <a:avLst/>
                <a:gdLst>
                  <a:gd name="connsiteX0" fmla="*/ 247650 w 247650"/>
                  <a:gd name="connsiteY0" fmla="*/ 95250 h 95250"/>
                  <a:gd name="connsiteX1" fmla="*/ 0 w 247650"/>
                  <a:gd name="connsiteY1" fmla="*/ 95250 h 95250"/>
                  <a:gd name="connsiteX2" fmla="*/ 0 w 247650"/>
                  <a:gd name="connsiteY2" fmla="*/ 66799 h 95250"/>
                  <a:gd name="connsiteX3" fmla="*/ 23203 w 247650"/>
                  <a:gd name="connsiteY3" fmla="*/ 25879 h 95250"/>
                  <a:gd name="connsiteX4" fmla="*/ 123825 w 247650"/>
                  <a:gd name="connsiteY4" fmla="*/ 0 h 95250"/>
                  <a:gd name="connsiteX5" fmla="*/ 224247 w 247650"/>
                  <a:gd name="connsiteY5" fmla="*/ 25965 h 95250"/>
                  <a:gd name="connsiteX6" fmla="*/ 247650 w 247650"/>
                  <a:gd name="connsiteY6" fmla="*/ 67008 h 95250"/>
                  <a:gd name="connsiteX7" fmla="*/ 247650 w 247650"/>
                  <a:gd name="connsiteY7" fmla="*/ 95250 h 95250"/>
                  <a:gd name="connsiteX8" fmla="*/ 19050 w 247650"/>
                  <a:gd name="connsiteY8" fmla="*/ 76200 h 95250"/>
                  <a:gd name="connsiteX9" fmla="*/ 228600 w 247650"/>
                  <a:gd name="connsiteY9" fmla="*/ 76200 h 95250"/>
                  <a:gd name="connsiteX10" fmla="*/ 228600 w 247650"/>
                  <a:gd name="connsiteY10" fmla="*/ 67008 h 95250"/>
                  <a:gd name="connsiteX11" fmla="*/ 214541 w 247650"/>
                  <a:gd name="connsiteY11" fmla="*/ 42348 h 95250"/>
                  <a:gd name="connsiteX12" fmla="*/ 123825 w 247650"/>
                  <a:gd name="connsiteY12" fmla="*/ 19050 h 95250"/>
                  <a:gd name="connsiteX13" fmla="*/ 32966 w 247650"/>
                  <a:gd name="connsiteY13" fmla="*/ 42234 h 95250"/>
                  <a:gd name="connsiteX14" fmla="*/ 19050 w 247650"/>
                  <a:gd name="connsiteY14" fmla="*/ 66799 h 95250"/>
                  <a:gd name="connsiteX15" fmla="*/ 19050 w 247650"/>
                  <a:gd name="connsiteY15" fmla="*/ 7620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247650" h="95250">
                    <a:moveTo>
                      <a:pt x="247650" y="95250"/>
                    </a:moveTo>
                    <a:lnTo>
                      <a:pt x="0" y="95250"/>
                    </a:lnTo>
                    <a:lnTo>
                      <a:pt x="0" y="66799"/>
                    </a:lnTo>
                    <a:cubicBezTo>
                      <a:pt x="0" y="50101"/>
                      <a:pt x="8896" y="34423"/>
                      <a:pt x="23203" y="25879"/>
                    </a:cubicBezTo>
                    <a:cubicBezTo>
                      <a:pt x="42967" y="14078"/>
                      <a:pt x="76467" y="0"/>
                      <a:pt x="123825" y="0"/>
                    </a:cubicBezTo>
                    <a:cubicBezTo>
                      <a:pt x="170564" y="0"/>
                      <a:pt x="204235" y="14116"/>
                      <a:pt x="224247" y="25965"/>
                    </a:cubicBezTo>
                    <a:cubicBezTo>
                      <a:pt x="238687" y="34500"/>
                      <a:pt x="247650" y="50235"/>
                      <a:pt x="247650" y="67008"/>
                    </a:cubicBezTo>
                    <a:lnTo>
                      <a:pt x="247650" y="95250"/>
                    </a:lnTo>
                    <a:close/>
                    <a:moveTo>
                      <a:pt x="19050" y="76200"/>
                    </a:moveTo>
                    <a:lnTo>
                      <a:pt x="228600" y="76200"/>
                    </a:lnTo>
                    <a:lnTo>
                      <a:pt x="228600" y="67008"/>
                    </a:lnTo>
                    <a:cubicBezTo>
                      <a:pt x="228600" y="56779"/>
                      <a:pt x="223342" y="47558"/>
                      <a:pt x="214541" y="42348"/>
                    </a:cubicBezTo>
                    <a:cubicBezTo>
                      <a:pt x="196577" y="31718"/>
                      <a:pt x="166259" y="19050"/>
                      <a:pt x="123825" y="19050"/>
                    </a:cubicBezTo>
                    <a:cubicBezTo>
                      <a:pt x="80810" y="19050"/>
                      <a:pt x="50673" y="31652"/>
                      <a:pt x="32966" y="42234"/>
                    </a:cubicBezTo>
                    <a:cubicBezTo>
                      <a:pt x="24251" y="47444"/>
                      <a:pt x="19050" y="56617"/>
                      <a:pt x="19050" y="66799"/>
                    </a:cubicBezTo>
                    <a:lnTo>
                      <a:pt x="19050" y="7620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Vector">
                <a:extLst>
                  <a:ext uri="{FF2B5EF4-FFF2-40B4-BE49-F238E27FC236}">
                    <a16:creationId xmlns:a16="http://schemas.microsoft.com/office/drawing/2014/main" id="{C06FA94C-D8CA-413F-A4D4-CD90105D3357}"/>
                  </a:ext>
                </a:extLst>
              </p:cNvPr>
              <p:cNvSpPr/>
              <p:nvPr/>
            </p:nvSpPr>
            <p:spPr bwMode="gray">
              <a:xfrm>
                <a:off x="3920526" y="2067827"/>
                <a:ext cx="133350" cy="133350"/>
              </a:xfrm>
              <a:custGeom>
                <a:avLst/>
                <a:gdLst>
                  <a:gd name="connsiteX0" fmla="*/ 66675 w 133350"/>
                  <a:gd name="connsiteY0" fmla="*/ 133350 h 133350"/>
                  <a:gd name="connsiteX1" fmla="*/ 0 w 133350"/>
                  <a:gd name="connsiteY1" fmla="*/ 66675 h 133350"/>
                  <a:gd name="connsiteX2" fmla="*/ 66675 w 133350"/>
                  <a:gd name="connsiteY2" fmla="*/ 0 h 133350"/>
                  <a:gd name="connsiteX3" fmla="*/ 133350 w 133350"/>
                  <a:gd name="connsiteY3" fmla="*/ 66675 h 133350"/>
                  <a:gd name="connsiteX4" fmla="*/ 66675 w 133350"/>
                  <a:gd name="connsiteY4" fmla="*/ 133350 h 133350"/>
                  <a:gd name="connsiteX5" fmla="*/ 66675 w 133350"/>
                  <a:gd name="connsiteY5" fmla="*/ 19050 h 133350"/>
                  <a:gd name="connsiteX6" fmla="*/ 19050 w 133350"/>
                  <a:gd name="connsiteY6" fmla="*/ 66675 h 133350"/>
                  <a:gd name="connsiteX7" fmla="*/ 66675 w 133350"/>
                  <a:gd name="connsiteY7" fmla="*/ 114300 h 133350"/>
                  <a:gd name="connsiteX8" fmla="*/ 114300 w 133350"/>
                  <a:gd name="connsiteY8" fmla="*/ 66675 h 133350"/>
                  <a:gd name="connsiteX9" fmla="*/ 66675 w 133350"/>
                  <a:gd name="connsiteY9" fmla="*/ 1905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33350" h="133350">
                    <a:moveTo>
                      <a:pt x="66675" y="133350"/>
                    </a:moveTo>
                    <a:cubicBezTo>
                      <a:pt x="29918" y="133350"/>
                      <a:pt x="0" y="103432"/>
                      <a:pt x="0" y="66675"/>
                    </a:cubicBezTo>
                    <a:cubicBezTo>
                      <a:pt x="0" y="29918"/>
                      <a:pt x="29918" y="0"/>
                      <a:pt x="66675" y="0"/>
                    </a:cubicBezTo>
                    <a:cubicBezTo>
                      <a:pt x="103432" y="0"/>
                      <a:pt x="133350" y="29918"/>
                      <a:pt x="133350" y="66675"/>
                    </a:cubicBezTo>
                    <a:cubicBezTo>
                      <a:pt x="133350" y="103432"/>
                      <a:pt x="103432" y="133350"/>
                      <a:pt x="66675" y="133350"/>
                    </a:cubicBezTo>
                    <a:close/>
                    <a:moveTo>
                      <a:pt x="66675" y="19050"/>
                    </a:moveTo>
                    <a:cubicBezTo>
                      <a:pt x="40415" y="19050"/>
                      <a:pt x="19050" y="40415"/>
                      <a:pt x="19050" y="66675"/>
                    </a:cubicBezTo>
                    <a:cubicBezTo>
                      <a:pt x="19050" y="92935"/>
                      <a:pt x="40415" y="114300"/>
                      <a:pt x="66675" y="114300"/>
                    </a:cubicBezTo>
                    <a:cubicBezTo>
                      <a:pt x="92935" y="114300"/>
                      <a:pt x="114300" y="92935"/>
                      <a:pt x="114300" y="66675"/>
                    </a:cubicBezTo>
                    <a:cubicBezTo>
                      <a:pt x="114300" y="40415"/>
                      <a:pt x="92935" y="19050"/>
                      <a:pt x="66675" y="1905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32" name="easyIcon">
            <a:extLst>
              <a:ext uri="{FF2B5EF4-FFF2-40B4-BE49-F238E27FC236}">
                <a16:creationId xmlns:a16="http://schemas.microsoft.com/office/drawing/2014/main" id="{5052139D-BE1F-4143-835B-9C93FC547002}"/>
              </a:ext>
            </a:extLst>
          </p:cNvPr>
          <p:cNvGrpSpPr>
            <a:grpSpLocks noChangeAspect="1"/>
          </p:cNvGrpSpPr>
          <p:nvPr>
            <p:custDataLst>
              <p:tags r:id="rId12"/>
            </p:custDataLst>
          </p:nvPr>
        </p:nvGrpSpPr>
        <p:grpSpPr>
          <a:xfrm>
            <a:off x="6473949" y="4319089"/>
            <a:ext cx="648002" cy="648002"/>
            <a:chOff x="7975208" y="1646807"/>
            <a:chExt cx="535538" cy="535538"/>
          </a:xfrm>
        </p:grpSpPr>
        <p:sp>
          <p:nvSpPr>
            <p:cNvPr id="33" name="Background">
              <a:extLst>
                <a:ext uri="{FF2B5EF4-FFF2-40B4-BE49-F238E27FC236}">
                  <a16:creationId xmlns:a16="http://schemas.microsoft.com/office/drawing/2014/main" id="{5B0EA15D-25A8-4B37-8D3D-F088FBE92C74}"/>
                </a:ext>
              </a:extLst>
            </p:cNvPr>
            <p:cNvSpPr/>
            <p:nvPr/>
          </p:nvSpPr>
          <p:spPr>
            <a:xfrm>
              <a:off x="7975208" y="1646807"/>
              <a:ext cx="535538" cy="53553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C8C800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C8C800"/>
                  </a:solidFill>
                  <a:prstDash val="solid"/>
                  <a:miter lim="800000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grpSp>
          <p:nvGrpSpPr>
            <p:cNvPr id="34" name="Grafik 26">
              <a:extLst>
                <a:ext uri="{FF2B5EF4-FFF2-40B4-BE49-F238E27FC236}">
                  <a16:creationId xmlns:a16="http://schemas.microsoft.com/office/drawing/2014/main" id="{AA4EB223-5291-4FDF-8CD5-0B538C26B9E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080977" y="1763028"/>
              <a:ext cx="324000" cy="303097"/>
              <a:chOff x="8080977" y="1763027"/>
              <a:chExt cx="590550" cy="552450"/>
            </a:xfrm>
            <a:solidFill>
              <a:srgbClr val="003764"/>
            </a:solidFill>
          </p:grpSpPr>
          <p:sp>
            <p:nvSpPr>
              <p:cNvPr id="35" name="Vector">
                <a:extLst>
                  <a:ext uri="{FF2B5EF4-FFF2-40B4-BE49-F238E27FC236}">
                    <a16:creationId xmlns:a16="http://schemas.microsoft.com/office/drawing/2014/main" id="{6A38F124-4297-401D-86CE-3A080C401644}"/>
                  </a:ext>
                </a:extLst>
              </p:cNvPr>
              <p:cNvSpPr/>
              <p:nvPr/>
            </p:nvSpPr>
            <p:spPr bwMode="gray">
              <a:xfrm>
                <a:off x="8080977" y="1829702"/>
                <a:ext cx="247650" cy="142875"/>
              </a:xfrm>
              <a:custGeom>
                <a:avLst/>
                <a:gdLst>
                  <a:gd name="connsiteX0" fmla="*/ 123825 w 247650"/>
                  <a:gd name="connsiteY0" fmla="*/ 142875 h 142875"/>
                  <a:gd name="connsiteX1" fmla="*/ 0 w 247650"/>
                  <a:gd name="connsiteY1" fmla="*/ 76200 h 142875"/>
                  <a:gd name="connsiteX2" fmla="*/ 0 w 247650"/>
                  <a:gd name="connsiteY2" fmla="*/ 0 h 142875"/>
                  <a:gd name="connsiteX3" fmla="*/ 19050 w 247650"/>
                  <a:gd name="connsiteY3" fmla="*/ 0 h 142875"/>
                  <a:gd name="connsiteX4" fmla="*/ 19050 w 247650"/>
                  <a:gd name="connsiteY4" fmla="*/ 76200 h 142875"/>
                  <a:gd name="connsiteX5" fmla="*/ 123825 w 247650"/>
                  <a:gd name="connsiteY5" fmla="*/ 123825 h 142875"/>
                  <a:gd name="connsiteX6" fmla="*/ 228600 w 247650"/>
                  <a:gd name="connsiteY6" fmla="*/ 76200 h 142875"/>
                  <a:gd name="connsiteX7" fmla="*/ 228600 w 247650"/>
                  <a:gd name="connsiteY7" fmla="*/ 0 h 142875"/>
                  <a:gd name="connsiteX8" fmla="*/ 247650 w 247650"/>
                  <a:gd name="connsiteY8" fmla="*/ 0 h 142875"/>
                  <a:gd name="connsiteX9" fmla="*/ 247650 w 247650"/>
                  <a:gd name="connsiteY9" fmla="*/ 76200 h 142875"/>
                  <a:gd name="connsiteX10" fmla="*/ 123825 w 247650"/>
                  <a:gd name="connsiteY10" fmla="*/ 14287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7650" h="142875">
                    <a:moveTo>
                      <a:pt x="123825" y="142875"/>
                    </a:moveTo>
                    <a:cubicBezTo>
                      <a:pt x="54388" y="142875"/>
                      <a:pt x="0" y="113586"/>
                      <a:pt x="0" y="76200"/>
                    </a:cubicBezTo>
                    <a:lnTo>
                      <a:pt x="0" y="0"/>
                    </a:lnTo>
                    <a:lnTo>
                      <a:pt x="19050" y="0"/>
                    </a:lnTo>
                    <a:lnTo>
                      <a:pt x="19050" y="76200"/>
                    </a:lnTo>
                    <a:cubicBezTo>
                      <a:pt x="19050" y="98727"/>
                      <a:pt x="62084" y="123825"/>
                      <a:pt x="123825" y="123825"/>
                    </a:cubicBezTo>
                    <a:cubicBezTo>
                      <a:pt x="185566" y="123825"/>
                      <a:pt x="228600" y="98727"/>
                      <a:pt x="228600" y="76200"/>
                    </a:cubicBezTo>
                    <a:lnTo>
                      <a:pt x="228600" y="0"/>
                    </a:lnTo>
                    <a:lnTo>
                      <a:pt x="247650" y="0"/>
                    </a:lnTo>
                    <a:lnTo>
                      <a:pt x="247650" y="76200"/>
                    </a:lnTo>
                    <a:cubicBezTo>
                      <a:pt x="247650" y="113586"/>
                      <a:pt x="193262" y="142875"/>
                      <a:pt x="123825" y="142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Vector">
                <a:extLst>
                  <a:ext uri="{FF2B5EF4-FFF2-40B4-BE49-F238E27FC236}">
                    <a16:creationId xmlns:a16="http://schemas.microsoft.com/office/drawing/2014/main" id="{267E2DA9-332A-4496-A863-0822A1A5EA78}"/>
                  </a:ext>
                </a:extLst>
              </p:cNvPr>
              <p:cNvSpPr/>
              <p:nvPr/>
            </p:nvSpPr>
            <p:spPr bwMode="gray">
              <a:xfrm>
                <a:off x="8080977" y="1905902"/>
                <a:ext cx="247650" cy="142875"/>
              </a:xfrm>
              <a:custGeom>
                <a:avLst/>
                <a:gdLst>
                  <a:gd name="connsiteX0" fmla="*/ 123825 w 247650"/>
                  <a:gd name="connsiteY0" fmla="*/ 142875 h 142875"/>
                  <a:gd name="connsiteX1" fmla="*/ 0 w 247650"/>
                  <a:gd name="connsiteY1" fmla="*/ 76200 h 142875"/>
                  <a:gd name="connsiteX2" fmla="*/ 0 w 247650"/>
                  <a:gd name="connsiteY2" fmla="*/ 0 h 142875"/>
                  <a:gd name="connsiteX3" fmla="*/ 19050 w 247650"/>
                  <a:gd name="connsiteY3" fmla="*/ 0 h 142875"/>
                  <a:gd name="connsiteX4" fmla="*/ 19050 w 247650"/>
                  <a:gd name="connsiteY4" fmla="*/ 76200 h 142875"/>
                  <a:gd name="connsiteX5" fmla="*/ 123825 w 247650"/>
                  <a:gd name="connsiteY5" fmla="*/ 123825 h 142875"/>
                  <a:gd name="connsiteX6" fmla="*/ 228600 w 247650"/>
                  <a:gd name="connsiteY6" fmla="*/ 76200 h 142875"/>
                  <a:gd name="connsiteX7" fmla="*/ 228600 w 247650"/>
                  <a:gd name="connsiteY7" fmla="*/ 0 h 142875"/>
                  <a:gd name="connsiteX8" fmla="*/ 247650 w 247650"/>
                  <a:gd name="connsiteY8" fmla="*/ 0 h 142875"/>
                  <a:gd name="connsiteX9" fmla="*/ 247650 w 247650"/>
                  <a:gd name="connsiteY9" fmla="*/ 76200 h 142875"/>
                  <a:gd name="connsiteX10" fmla="*/ 123825 w 247650"/>
                  <a:gd name="connsiteY10" fmla="*/ 14287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7650" h="142875">
                    <a:moveTo>
                      <a:pt x="123825" y="142875"/>
                    </a:moveTo>
                    <a:cubicBezTo>
                      <a:pt x="54388" y="142875"/>
                      <a:pt x="0" y="113586"/>
                      <a:pt x="0" y="76200"/>
                    </a:cubicBezTo>
                    <a:lnTo>
                      <a:pt x="0" y="0"/>
                    </a:lnTo>
                    <a:lnTo>
                      <a:pt x="19050" y="0"/>
                    </a:lnTo>
                    <a:lnTo>
                      <a:pt x="19050" y="76200"/>
                    </a:lnTo>
                    <a:cubicBezTo>
                      <a:pt x="19050" y="98727"/>
                      <a:pt x="62084" y="123825"/>
                      <a:pt x="123825" y="123825"/>
                    </a:cubicBezTo>
                    <a:cubicBezTo>
                      <a:pt x="185566" y="123825"/>
                      <a:pt x="228600" y="98727"/>
                      <a:pt x="228600" y="76200"/>
                    </a:cubicBezTo>
                    <a:lnTo>
                      <a:pt x="228600" y="0"/>
                    </a:lnTo>
                    <a:lnTo>
                      <a:pt x="247650" y="0"/>
                    </a:lnTo>
                    <a:lnTo>
                      <a:pt x="247650" y="76200"/>
                    </a:lnTo>
                    <a:cubicBezTo>
                      <a:pt x="247650" y="113586"/>
                      <a:pt x="193262" y="142875"/>
                      <a:pt x="123825" y="142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Vector">
                <a:extLst>
                  <a:ext uri="{FF2B5EF4-FFF2-40B4-BE49-F238E27FC236}">
                    <a16:creationId xmlns:a16="http://schemas.microsoft.com/office/drawing/2014/main" id="{0FBA1E45-9946-4BD0-BC31-90384638CD5B}"/>
                  </a:ext>
                </a:extLst>
              </p:cNvPr>
              <p:cNvSpPr/>
              <p:nvPr/>
            </p:nvSpPr>
            <p:spPr bwMode="gray">
              <a:xfrm>
                <a:off x="8080977" y="1982102"/>
                <a:ext cx="123825" cy="142875"/>
              </a:xfrm>
              <a:custGeom>
                <a:avLst/>
                <a:gdLst>
                  <a:gd name="connsiteX0" fmla="*/ 123825 w 123825"/>
                  <a:gd name="connsiteY0" fmla="*/ 142875 h 142875"/>
                  <a:gd name="connsiteX1" fmla="*/ 0 w 123825"/>
                  <a:gd name="connsiteY1" fmla="*/ 76200 h 142875"/>
                  <a:gd name="connsiteX2" fmla="*/ 0 w 123825"/>
                  <a:gd name="connsiteY2" fmla="*/ 0 h 142875"/>
                  <a:gd name="connsiteX3" fmla="*/ 19050 w 123825"/>
                  <a:gd name="connsiteY3" fmla="*/ 0 h 142875"/>
                  <a:gd name="connsiteX4" fmla="*/ 19050 w 123825"/>
                  <a:gd name="connsiteY4" fmla="*/ 76200 h 142875"/>
                  <a:gd name="connsiteX5" fmla="*/ 123825 w 123825"/>
                  <a:gd name="connsiteY5" fmla="*/ 123825 h 142875"/>
                  <a:gd name="connsiteX6" fmla="*/ 123825 w 123825"/>
                  <a:gd name="connsiteY6" fmla="*/ 14287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142875">
                    <a:moveTo>
                      <a:pt x="123825" y="142875"/>
                    </a:moveTo>
                    <a:cubicBezTo>
                      <a:pt x="54388" y="142875"/>
                      <a:pt x="0" y="113586"/>
                      <a:pt x="0" y="76200"/>
                    </a:cubicBezTo>
                    <a:lnTo>
                      <a:pt x="0" y="0"/>
                    </a:lnTo>
                    <a:lnTo>
                      <a:pt x="19050" y="0"/>
                    </a:lnTo>
                    <a:lnTo>
                      <a:pt x="19050" y="76200"/>
                    </a:lnTo>
                    <a:cubicBezTo>
                      <a:pt x="19050" y="98727"/>
                      <a:pt x="62084" y="123825"/>
                      <a:pt x="123825" y="123825"/>
                    </a:cubicBezTo>
                    <a:lnTo>
                      <a:pt x="123825" y="14287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Vector">
                <a:extLst>
                  <a:ext uri="{FF2B5EF4-FFF2-40B4-BE49-F238E27FC236}">
                    <a16:creationId xmlns:a16="http://schemas.microsoft.com/office/drawing/2014/main" id="{DEE9C5DF-8603-4D3C-AAC4-C61DE47C8B4D}"/>
                  </a:ext>
                </a:extLst>
              </p:cNvPr>
              <p:cNvSpPr/>
              <p:nvPr/>
            </p:nvSpPr>
            <p:spPr bwMode="gray">
              <a:xfrm>
                <a:off x="8080977" y="2058302"/>
                <a:ext cx="123825" cy="142875"/>
              </a:xfrm>
              <a:custGeom>
                <a:avLst/>
                <a:gdLst>
                  <a:gd name="connsiteX0" fmla="*/ 123825 w 123825"/>
                  <a:gd name="connsiteY0" fmla="*/ 142875 h 142875"/>
                  <a:gd name="connsiteX1" fmla="*/ 0 w 123825"/>
                  <a:gd name="connsiteY1" fmla="*/ 76200 h 142875"/>
                  <a:gd name="connsiteX2" fmla="*/ 0 w 123825"/>
                  <a:gd name="connsiteY2" fmla="*/ 0 h 142875"/>
                  <a:gd name="connsiteX3" fmla="*/ 19050 w 123825"/>
                  <a:gd name="connsiteY3" fmla="*/ 0 h 142875"/>
                  <a:gd name="connsiteX4" fmla="*/ 19050 w 123825"/>
                  <a:gd name="connsiteY4" fmla="*/ 76200 h 142875"/>
                  <a:gd name="connsiteX5" fmla="*/ 123825 w 123825"/>
                  <a:gd name="connsiteY5" fmla="*/ 123825 h 142875"/>
                  <a:gd name="connsiteX6" fmla="*/ 123825 w 123825"/>
                  <a:gd name="connsiteY6" fmla="*/ 14287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142875">
                    <a:moveTo>
                      <a:pt x="123825" y="142875"/>
                    </a:moveTo>
                    <a:cubicBezTo>
                      <a:pt x="54388" y="142875"/>
                      <a:pt x="0" y="113586"/>
                      <a:pt x="0" y="76200"/>
                    </a:cubicBezTo>
                    <a:lnTo>
                      <a:pt x="0" y="0"/>
                    </a:lnTo>
                    <a:lnTo>
                      <a:pt x="19050" y="0"/>
                    </a:lnTo>
                    <a:lnTo>
                      <a:pt x="19050" y="76200"/>
                    </a:lnTo>
                    <a:cubicBezTo>
                      <a:pt x="19050" y="98727"/>
                      <a:pt x="62084" y="123825"/>
                      <a:pt x="123825" y="123825"/>
                    </a:cubicBezTo>
                    <a:lnTo>
                      <a:pt x="123825" y="14287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Vector">
                <a:extLst>
                  <a:ext uri="{FF2B5EF4-FFF2-40B4-BE49-F238E27FC236}">
                    <a16:creationId xmlns:a16="http://schemas.microsoft.com/office/drawing/2014/main" id="{BC2148D4-40E5-4D1D-91BD-A0578B117E5A}"/>
                  </a:ext>
                </a:extLst>
              </p:cNvPr>
              <p:cNvSpPr/>
              <p:nvPr/>
            </p:nvSpPr>
            <p:spPr bwMode="gray">
              <a:xfrm>
                <a:off x="8080977" y="1763027"/>
                <a:ext cx="247650" cy="133350"/>
              </a:xfrm>
              <a:custGeom>
                <a:avLst/>
                <a:gdLst>
                  <a:gd name="connsiteX0" fmla="*/ 123825 w 247650"/>
                  <a:gd name="connsiteY0" fmla="*/ 133350 h 133350"/>
                  <a:gd name="connsiteX1" fmla="*/ 0 w 247650"/>
                  <a:gd name="connsiteY1" fmla="*/ 66675 h 133350"/>
                  <a:gd name="connsiteX2" fmla="*/ 123825 w 247650"/>
                  <a:gd name="connsiteY2" fmla="*/ 0 h 133350"/>
                  <a:gd name="connsiteX3" fmla="*/ 247650 w 247650"/>
                  <a:gd name="connsiteY3" fmla="*/ 66675 h 133350"/>
                  <a:gd name="connsiteX4" fmla="*/ 123825 w 247650"/>
                  <a:gd name="connsiteY4" fmla="*/ 133350 h 133350"/>
                  <a:gd name="connsiteX5" fmla="*/ 123825 w 247650"/>
                  <a:gd name="connsiteY5" fmla="*/ 19050 h 133350"/>
                  <a:gd name="connsiteX6" fmla="*/ 19050 w 247650"/>
                  <a:gd name="connsiteY6" fmla="*/ 66675 h 133350"/>
                  <a:gd name="connsiteX7" fmla="*/ 123825 w 247650"/>
                  <a:gd name="connsiteY7" fmla="*/ 114300 h 133350"/>
                  <a:gd name="connsiteX8" fmla="*/ 228600 w 247650"/>
                  <a:gd name="connsiteY8" fmla="*/ 66675 h 133350"/>
                  <a:gd name="connsiteX9" fmla="*/ 123825 w 247650"/>
                  <a:gd name="connsiteY9" fmla="*/ 1905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650" h="133350">
                    <a:moveTo>
                      <a:pt x="123825" y="133350"/>
                    </a:moveTo>
                    <a:cubicBezTo>
                      <a:pt x="54388" y="133350"/>
                      <a:pt x="0" y="104061"/>
                      <a:pt x="0" y="66675"/>
                    </a:cubicBezTo>
                    <a:cubicBezTo>
                      <a:pt x="0" y="29289"/>
                      <a:pt x="54388" y="0"/>
                      <a:pt x="123825" y="0"/>
                    </a:cubicBezTo>
                    <a:cubicBezTo>
                      <a:pt x="193262" y="0"/>
                      <a:pt x="247650" y="29289"/>
                      <a:pt x="247650" y="66675"/>
                    </a:cubicBezTo>
                    <a:cubicBezTo>
                      <a:pt x="247650" y="104061"/>
                      <a:pt x="193262" y="133350"/>
                      <a:pt x="123825" y="133350"/>
                    </a:cubicBezTo>
                    <a:close/>
                    <a:moveTo>
                      <a:pt x="123825" y="19050"/>
                    </a:moveTo>
                    <a:cubicBezTo>
                      <a:pt x="62084" y="19050"/>
                      <a:pt x="19050" y="44148"/>
                      <a:pt x="19050" y="66675"/>
                    </a:cubicBezTo>
                    <a:cubicBezTo>
                      <a:pt x="19050" y="89202"/>
                      <a:pt x="62084" y="114300"/>
                      <a:pt x="123825" y="114300"/>
                    </a:cubicBezTo>
                    <a:cubicBezTo>
                      <a:pt x="185566" y="114300"/>
                      <a:pt x="228600" y="89202"/>
                      <a:pt x="228600" y="66675"/>
                    </a:cubicBezTo>
                    <a:cubicBezTo>
                      <a:pt x="228600" y="44148"/>
                      <a:pt x="185566" y="19050"/>
                      <a:pt x="123825" y="1905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Vector">
                <a:extLst>
                  <a:ext uri="{FF2B5EF4-FFF2-40B4-BE49-F238E27FC236}">
                    <a16:creationId xmlns:a16="http://schemas.microsoft.com/office/drawing/2014/main" id="{87591C07-5BEE-4E1D-8B11-197DFA0FA22F}"/>
                  </a:ext>
                </a:extLst>
              </p:cNvPr>
              <p:cNvSpPr/>
              <p:nvPr/>
            </p:nvSpPr>
            <p:spPr bwMode="gray">
              <a:xfrm>
                <a:off x="8423877" y="1905902"/>
                <a:ext cx="247650" cy="142875"/>
              </a:xfrm>
              <a:custGeom>
                <a:avLst/>
                <a:gdLst>
                  <a:gd name="connsiteX0" fmla="*/ 123825 w 247650"/>
                  <a:gd name="connsiteY0" fmla="*/ 142875 h 142875"/>
                  <a:gd name="connsiteX1" fmla="*/ 0 w 247650"/>
                  <a:gd name="connsiteY1" fmla="*/ 76200 h 142875"/>
                  <a:gd name="connsiteX2" fmla="*/ 0 w 247650"/>
                  <a:gd name="connsiteY2" fmla="*/ 0 h 142875"/>
                  <a:gd name="connsiteX3" fmla="*/ 19050 w 247650"/>
                  <a:gd name="connsiteY3" fmla="*/ 0 h 142875"/>
                  <a:gd name="connsiteX4" fmla="*/ 19050 w 247650"/>
                  <a:gd name="connsiteY4" fmla="*/ 76200 h 142875"/>
                  <a:gd name="connsiteX5" fmla="*/ 123825 w 247650"/>
                  <a:gd name="connsiteY5" fmla="*/ 123825 h 142875"/>
                  <a:gd name="connsiteX6" fmla="*/ 228600 w 247650"/>
                  <a:gd name="connsiteY6" fmla="*/ 76200 h 142875"/>
                  <a:gd name="connsiteX7" fmla="*/ 228600 w 247650"/>
                  <a:gd name="connsiteY7" fmla="*/ 0 h 142875"/>
                  <a:gd name="connsiteX8" fmla="*/ 247650 w 247650"/>
                  <a:gd name="connsiteY8" fmla="*/ 0 h 142875"/>
                  <a:gd name="connsiteX9" fmla="*/ 247650 w 247650"/>
                  <a:gd name="connsiteY9" fmla="*/ 76200 h 142875"/>
                  <a:gd name="connsiteX10" fmla="*/ 123825 w 247650"/>
                  <a:gd name="connsiteY10" fmla="*/ 14287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7650" h="142875">
                    <a:moveTo>
                      <a:pt x="123825" y="142875"/>
                    </a:moveTo>
                    <a:cubicBezTo>
                      <a:pt x="54388" y="142875"/>
                      <a:pt x="0" y="113586"/>
                      <a:pt x="0" y="76200"/>
                    </a:cubicBezTo>
                    <a:lnTo>
                      <a:pt x="0" y="0"/>
                    </a:lnTo>
                    <a:lnTo>
                      <a:pt x="19050" y="0"/>
                    </a:lnTo>
                    <a:lnTo>
                      <a:pt x="19050" y="76200"/>
                    </a:lnTo>
                    <a:cubicBezTo>
                      <a:pt x="19050" y="98727"/>
                      <a:pt x="62084" y="123825"/>
                      <a:pt x="123825" y="123825"/>
                    </a:cubicBezTo>
                    <a:cubicBezTo>
                      <a:pt x="185566" y="123825"/>
                      <a:pt x="228600" y="98727"/>
                      <a:pt x="228600" y="76200"/>
                    </a:cubicBezTo>
                    <a:lnTo>
                      <a:pt x="228600" y="0"/>
                    </a:lnTo>
                    <a:lnTo>
                      <a:pt x="247650" y="0"/>
                    </a:lnTo>
                    <a:lnTo>
                      <a:pt x="247650" y="76200"/>
                    </a:lnTo>
                    <a:cubicBezTo>
                      <a:pt x="247650" y="113586"/>
                      <a:pt x="193262" y="142875"/>
                      <a:pt x="123825" y="142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Vector">
                <a:extLst>
                  <a:ext uri="{FF2B5EF4-FFF2-40B4-BE49-F238E27FC236}">
                    <a16:creationId xmlns:a16="http://schemas.microsoft.com/office/drawing/2014/main" id="{9D89D20C-6E1C-4809-8A1A-6B90426637F4}"/>
                  </a:ext>
                </a:extLst>
              </p:cNvPr>
              <p:cNvSpPr/>
              <p:nvPr/>
            </p:nvSpPr>
            <p:spPr bwMode="gray">
              <a:xfrm>
                <a:off x="8547702" y="1982102"/>
                <a:ext cx="123825" cy="142875"/>
              </a:xfrm>
              <a:custGeom>
                <a:avLst/>
                <a:gdLst>
                  <a:gd name="connsiteX0" fmla="*/ 0 w 123825"/>
                  <a:gd name="connsiteY0" fmla="*/ 142875 h 142875"/>
                  <a:gd name="connsiteX1" fmla="*/ 0 w 123825"/>
                  <a:gd name="connsiteY1" fmla="*/ 123825 h 142875"/>
                  <a:gd name="connsiteX2" fmla="*/ 104775 w 123825"/>
                  <a:gd name="connsiteY2" fmla="*/ 76200 h 142875"/>
                  <a:gd name="connsiteX3" fmla="*/ 104775 w 123825"/>
                  <a:gd name="connsiteY3" fmla="*/ 0 h 142875"/>
                  <a:gd name="connsiteX4" fmla="*/ 123825 w 123825"/>
                  <a:gd name="connsiteY4" fmla="*/ 0 h 142875"/>
                  <a:gd name="connsiteX5" fmla="*/ 123825 w 123825"/>
                  <a:gd name="connsiteY5" fmla="*/ 76200 h 142875"/>
                  <a:gd name="connsiteX6" fmla="*/ 0 w 123825"/>
                  <a:gd name="connsiteY6" fmla="*/ 14287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142875">
                    <a:moveTo>
                      <a:pt x="0" y="142875"/>
                    </a:moveTo>
                    <a:lnTo>
                      <a:pt x="0" y="123825"/>
                    </a:lnTo>
                    <a:cubicBezTo>
                      <a:pt x="61741" y="123825"/>
                      <a:pt x="104775" y="98727"/>
                      <a:pt x="104775" y="76200"/>
                    </a:cubicBezTo>
                    <a:lnTo>
                      <a:pt x="104775" y="0"/>
                    </a:lnTo>
                    <a:lnTo>
                      <a:pt x="123825" y="0"/>
                    </a:lnTo>
                    <a:lnTo>
                      <a:pt x="123825" y="76200"/>
                    </a:lnTo>
                    <a:cubicBezTo>
                      <a:pt x="123825" y="113586"/>
                      <a:pt x="69437" y="142875"/>
                      <a:pt x="0" y="142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Vector">
                <a:extLst>
                  <a:ext uri="{FF2B5EF4-FFF2-40B4-BE49-F238E27FC236}">
                    <a16:creationId xmlns:a16="http://schemas.microsoft.com/office/drawing/2014/main" id="{A376F4ED-447D-40E3-B5B8-2158B7AD4BB9}"/>
                  </a:ext>
                </a:extLst>
              </p:cNvPr>
              <p:cNvSpPr/>
              <p:nvPr/>
            </p:nvSpPr>
            <p:spPr bwMode="gray">
              <a:xfrm>
                <a:off x="8547702" y="2058302"/>
                <a:ext cx="123825" cy="142875"/>
              </a:xfrm>
              <a:custGeom>
                <a:avLst/>
                <a:gdLst>
                  <a:gd name="connsiteX0" fmla="*/ 0 w 123825"/>
                  <a:gd name="connsiteY0" fmla="*/ 142875 h 142875"/>
                  <a:gd name="connsiteX1" fmla="*/ 0 w 123825"/>
                  <a:gd name="connsiteY1" fmla="*/ 123825 h 142875"/>
                  <a:gd name="connsiteX2" fmla="*/ 104775 w 123825"/>
                  <a:gd name="connsiteY2" fmla="*/ 76200 h 142875"/>
                  <a:gd name="connsiteX3" fmla="*/ 104775 w 123825"/>
                  <a:gd name="connsiteY3" fmla="*/ 0 h 142875"/>
                  <a:gd name="connsiteX4" fmla="*/ 123825 w 123825"/>
                  <a:gd name="connsiteY4" fmla="*/ 0 h 142875"/>
                  <a:gd name="connsiteX5" fmla="*/ 123825 w 123825"/>
                  <a:gd name="connsiteY5" fmla="*/ 76200 h 142875"/>
                  <a:gd name="connsiteX6" fmla="*/ 0 w 123825"/>
                  <a:gd name="connsiteY6" fmla="*/ 14287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3825" h="142875">
                    <a:moveTo>
                      <a:pt x="0" y="142875"/>
                    </a:moveTo>
                    <a:lnTo>
                      <a:pt x="0" y="123825"/>
                    </a:lnTo>
                    <a:cubicBezTo>
                      <a:pt x="61741" y="123825"/>
                      <a:pt x="104775" y="98727"/>
                      <a:pt x="104775" y="76200"/>
                    </a:cubicBezTo>
                    <a:lnTo>
                      <a:pt x="104775" y="0"/>
                    </a:lnTo>
                    <a:lnTo>
                      <a:pt x="123825" y="0"/>
                    </a:lnTo>
                    <a:lnTo>
                      <a:pt x="123825" y="76200"/>
                    </a:lnTo>
                    <a:cubicBezTo>
                      <a:pt x="123825" y="113586"/>
                      <a:pt x="69437" y="142875"/>
                      <a:pt x="0" y="142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Vector">
                <a:extLst>
                  <a:ext uri="{FF2B5EF4-FFF2-40B4-BE49-F238E27FC236}">
                    <a16:creationId xmlns:a16="http://schemas.microsoft.com/office/drawing/2014/main" id="{0673E006-2412-4B86-954F-AF3334FB4B8E}"/>
                  </a:ext>
                </a:extLst>
              </p:cNvPr>
              <p:cNvSpPr/>
              <p:nvPr/>
            </p:nvSpPr>
            <p:spPr bwMode="gray">
              <a:xfrm>
                <a:off x="8423877" y="1839227"/>
                <a:ext cx="247650" cy="133350"/>
              </a:xfrm>
              <a:custGeom>
                <a:avLst/>
                <a:gdLst>
                  <a:gd name="connsiteX0" fmla="*/ 123825 w 247650"/>
                  <a:gd name="connsiteY0" fmla="*/ 133350 h 133350"/>
                  <a:gd name="connsiteX1" fmla="*/ 0 w 247650"/>
                  <a:gd name="connsiteY1" fmla="*/ 66675 h 133350"/>
                  <a:gd name="connsiteX2" fmla="*/ 123825 w 247650"/>
                  <a:gd name="connsiteY2" fmla="*/ 0 h 133350"/>
                  <a:gd name="connsiteX3" fmla="*/ 247650 w 247650"/>
                  <a:gd name="connsiteY3" fmla="*/ 66675 h 133350"/>
                  <a:gd name="connsiteX4" fmla="*/ 123825 w 247650"/>
                  <a:gd name="connsiteY4" fmla="*/ 133350 h 133350"/>
                  <a:gd name="connsiteX5" fmla="*/ 123825 w 247650"/>
                  <a:gd name="connsiteY5" fmla="*/ 19050 h 133350"/>
                  <a:gd name="connsiteX6" fmla="*/ 19050 w 247650"/>
                  <a:gd name="connsiteY6" fmla="*/ 66675 h 133350"/>
                  <a:gd name="connsiteX7" fmla="*/ 123825 w 247650"/>
                  <a:gd name="connsiteY7" fmla="*/ 114300 h 133350"/>
                  <a:gd name="connsiteX8" fmla="*/ 228600 w 247650"/>
                  <a:gd name="connsiteY8" fmla="*/ 66675 h 133350"/>
                  <a:gd name="connsiteX9" fmla="*/ 123825 w 247650"/>
                  <a:gd name="connsiteY9" fmla="*/ 1905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650" h="133350">
                    <a:moveTo>
                      <a:pt x="123825" y="133350"/>
                    </a:moveTo>
                    <a:cubicBezTo>
                      <a:pt x="54388" y="133350"/>
                      <a:pt x="0" y="104061"/>
                      <a:pt x="0" y="66675"/>
                    </a:cubicBezTo>
                    <a:cubicBezTo>
                      <a:pt x="0" y="29289"/>
                      <a:pt x="54388" y="0"/>
                      <a:pt x="123825" y="0"/>
                    </a:cubicBezTo>
                    <a:cubicBezTo>
                      <a:pt x="193262" y="0"/>
                      <a:pt x="247650" y="29289"/>
                      <a:pt x="247650" y="66675"/>
                    </a:cubicBezTo>
                    <a:cubicBezTo>
                      <a:pt x="247650" y="104061"/>
                      <a:pt x="193262" y="133350"/>
                      <a:pt x="123825" y="133350"/>
                    </a:cubicBezTo>
                    <a:close/>
                    <a:moveTo>
                      <a:pt x="123825" y="19050"/>
                    </a:moveTo>
                    <a:cubicBezTo>
                      <a:pt x="62084" y="19050"/>
                      <a:pt x="19050" y="44148"/>
                      <a:pt x="19050" y="66675"/>
                    </a:cubicBezTo>
                    <a:cubicBezTo>
                      <a:pt x="19050" y="89202"/>
                      <a:pt x="62084" y="114300"/>
                      <a:pt x="123825" y="114300"/>
                    </a:cubicBezTo>
                    <a:cubicBezTo>
                      <a:pt x="185566" y="114300"/>
                      <a:pt x="228600" y="89202"/>
                      <a:pt x="228600" y="66675"/>
                    </a:cubicBezTo>
                    <a:cubicBezTo>
                      <a:pt x="228600" y="44148"/>
                      <a:pt x="185566" y="19050"/>
                      <a:pt x="123825" y="1905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Vector">
                <a:extLst>
                  <a:ext uri="{FF2B5EF4-FFF2-40B4-BE49-F238E27FC236}">
                    <a16:creationId xmlns:a16="http://schemas.microsoft.com/office/drawing/2014/main" id="{4B24304E-7578-4436-817D-14B7D6800F0B}"/>
                  </a:ext>
                </a:extLst>
              </p:cNvPr>
              <p:cNvSpPr/>
              <p:nvPr/>
            </p:nvSpPr>
            <p:spPr bwMode="gray">
              <a:xfrm>
                <a:off x="8252427" y="2096402"/>
                <a:ext cx="247650" cy="142875"/>
              </a:xfrm>
              <a:custGeom>
                <a:avLst/>
                <a:gdLst>
                  <a:gd name="connsiteX0" fmla="*/ 123825 w 247650"/>
                  <a:gd name="connsiteY0" fmla="*/ 142875 h 142875"/>
                  <a:gd name="connsiteX1" fmla="*/ 0 w 247650"/>
                  <a:gd name="connsiteY1" fmla="*/ 76200 h 142875"/>
                  <a:gd name="connsiteX2" fmla="*/ 0 w 247650"/>
                  <a:gd name="connsiteY2" fmla="*/ 0 h 142875"/>
                  <a:gd name="connsiteX3" fmla="*/ 19050 w 247650"/>
                  <a:gd name="connsiteY3" fmla="*/ 0 h 142875"/>
                  <a:gd name="connsiteX4" fmla="*/ 19050 w 247650"/>
                  <a:gd name="connsiteY4" fmla="*/ 76200 h 142875"/>
                  <a:gd name="connsiteX5" fmla="*/ 123825 w 247650"/>
                  <a:gd name="connsiteY5" fmla="*/ 123825 h 142875"/>
                  <a:gd name="connsiteX6" fmla="*/ 228600 w 247650"/>
                  <a:gd name="connsiteY6" fmla="*/ 76200 h 142875"/>
                  <a:gd name="connsiteX7" fmla="*/ 228600 w 247650"/>
                  <a:gd name="connsiteY7" fmla="*/ 0 h 142875"/>
                  <a:gd name="connsiteX8" fmla="*/ 247650 w 247650"/>
                  <a:gd name="connsiteY8" fmla="*/ 0 h 142875"/>
                  <a:gd name="connsiteX9" fmla="*/ 247650 w 247650"/>
                  <a:gd name="connsiteY9" fmla="*/ 76200 h 142875"/>
                  <a:gd name="connsiteX10" fmla="*/ 123825 w 247650"/>
                  <a:gd name="connsiteY10" fmla="*/ 14287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7650" h="142875">
                    <a:moveTo>
                      <a:pt x="123825" y="142875"/>
                    </a:moveTo>
                    <a:cubicBezTo>
                      <a:pt x="54388" y="142875"/>
                      <a:pt x="0" y="113586"/>
                      <a:pt x="0" y="76200"/>
                    </a:cubicBezTo>
                    <a:lnTo>
                      <a:pt x="0" y="0"/>
                    </a:lnTo>
                    <a:lnTo>
                      <a:pt x="19050" y="0"/>
                    </a:lnTo>
                    <a:lnTo>
                      <a:pt x="19050" y="76200"/>
                    </a:lnTo>
                    <a:cubicBezTo>
                      <a:pt x="19050" y="98727"/>
                      <a:pt x="62084" y="123825"/>
                      <a:pt x="123825" y="123825"/>
                    </a:cubicBezTo>
                    <a:cubicBezTo>
                      <a:pt x="185566" y="123825"/>
                      <a:pt x="228600" y="98727"/>
                      <a:pt x="228600" y="76200"/>
                    </a:cubicBezTo>
                    <a:lnTo>
                      <a:pt x="228600" y="0"/>
                    </a:lnTo>
                    <a:lnTo>
                      <a:pt x="247650" y="0"/>
                    </a:lnTo>
                    <a:lnTo>
                      <a:pt x="247650" y="76200"/>
                    </a:lnTo>
                    <a:cubicBezTo>
                      <a:pt x="247650" y="113586"/>
                      <a:pt x="193262" y="142875"/>
                      <a:pt x="123825" y="142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Vector">
                <a:extLst>
                  <a:ext uri="{FF2B5EF4-FFF2-40B4-BE49-F238E27FC236}">
                    <a16:creationId xmlns:a16="http://schemas.microsoft.com/office/drawing/2014/main" id="{A1FC13B6-C86F-479E-A4AE-777E279C75DC}"/>
                  </a:ext>
                </a:extLst>
              </p:cNvPr>
              <p:cNvSpPr/>
              <p:nvPr/>
            </p:nvSpPr>
            <p:spPr bwMode="gray">
              <a:xfrm>
                <a:off x="8252427" y="2172602"/>
                <a:ext cx="247650" cy="142875"/>
              </a:xfrm>
              <a:custGeom>
                <a:avLst/>
                <a:gdLst>
                  <a:gd name="connsiteX0" fmla="*/ 123825 w 247650"/>
                  <a:gd name="connsiteY0" fmla="*/ 142875 h 142875"/>
                  <a:gd name="connsiteX1" fmla="*/ 0 w 247650"/>
                  <a:gd name="connsiteY1" fmla="*/ 76200 h 142875"/>
                  <a:gd name="connsiteX2" fmla="*/ 0 w 247650"/>
                  <a:gd name="connsiteY2" fmla="*/ 0 h 142875"/>
                  <a:gd name="connsiteX3" fmla="*/ 19050 w 247650"/>
                  <a:gd name="connsiteY3" fmla="*/ 0 h 142875"/>
                  <a:gd name="connsiteX4" fmla="*/ 19050 w 247650"/>
                  <a:gd name="connsiteY4" fmla="*/ 76200 h 142875"/>
                  <a:gd name="connsiteX5" fmla="*/ 123825 w 247650"/>
                  <a:gd name="connsiteY5" fmla="*/ 123825 h 142875"/>
                  <a:gd name="connsiteX6" fmla="*/ 228600 w 247650"/>
                  <a:gd name="connsiteY6" fmla="*/ 76200 h 142875"/>
                  <a:gd name="connsiteX7" fmla="*/ 228600 w 247650"/>
                  <a:gd name="connsiteY7" fmla="*/ 0 h 142875"/>
                  <a:gd name="connsiteX8" fmla="*/ 247650 w 247650"/>
                  <a:gd name="connsiteY8" fmla="*/ 0 h 142875"/>
                  <a:gd name="connsiteX9" fmla="*/ 247650 w 247650"/>
                  <a:gd name="connsiteY9" fmla="*/ 76200 h 142875"/>
                  <a:gd name="connsiteX10" fmla="*/ 123825 w 247650"/>
                  <a:gd name="connsiteY10" fmla="*/ 142875 h 1428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247650" h="142875">
                    <a:moveTo>
                      <a:pt x="123825" y="142875"/>
                    </a:moveTo>
                    <a:cubicBezTo>
                      <a:pt x="54388" y="142875"/>
                      <a:pt x="0" y="113586"/>
                      <a:pt x="0" y="76200"/>
                    </a:cubicBezTo>
                    <a:lnTo>
                      <a:pt x="0" y="0"/>
                    </a:lnTo>
                    <a:lnTo>
                      <a:pt x="19050" y="0"/>
                    </a:lnTo>
                    <a:lnTo>
                      <a:pt x="19050" y="76200"/>
                    </a:lnTo>
                    <a:cubicBezTo>
                      <a:pt x="19050" y="98727"/>
                      <a:pt x="62084" y="123825"/>
                      <a:pt x="123825" y="123825"/>
                    </a:cubicBezTo>
                    <a:cubicBezTo>
                      <a:pt x="185566" y="123825"/>
                      <a:pt x="228600" y="98727"/>
                      <a:pt x="228600" y="76200"/>
                    </a:cubicBezTo>
                    <a:lnTo>
                      <a:pt x="228600" y="0"/>
                    </a:lnTo>
                    <a:lnTo>
                      <a:pt x="247650" y="0"/>
                    </a:lnTo>
                    <a:lnTo>
                      <a:pt x="247650" y="76200"/>
                    </a:lnTo>
                    <a:cubicBezTo>
                      <a:pt x="247650" y="113586"/>
                      <a:pt x="193262" y="142875"/>
                      <a:pt x="123825" y="14287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Vector">
                <a:extLst>
                  <a:ext uri="{FF2B5EF4-FFF2-40B4-BE49-F238E27FC236}">
                    <a16:creationId xmlns:a16="http://schemas.microsoft.com/office/drawing/2014/main" id="{3EB26C22-C443-45DD-8266-905ADE6E0AE9}"/>
                  </a:ext>
                </a:extLst>
              </p:cNvPr>
              <p:cNvSpPr/>
              <p:nvPr/>
            </p:nvSpPr>
            <p:spPr bwMode="gray">
              <a:xfrm>
                <a:off x="8252427" y="2029727"/>
                <a:ext cx="247650" cy="133350"/>
              </a:xfrm>
              <a:custGeom>
                <a:avLst/>
                <a:gdLst>
                  <a:gd name="connsiteX0" fmla="*/ 123825 w 247650"/>
                  <a:gd name="connsiteY0" fmla="*/ 133350 h 133350"/>
                  <a:gd name="connsiteX1" fmla="*/ 0 w 247650"/>
                  <a:gd name="connsiteY1" fmla="*/ 66675 h 133350"/>
                  <a:gd name="connsiteX2" fmla="*/ 123825 w 247650"/>
                  <a:gd name="connsiteY2" fmla="*/ 0 h 133350"/>
                  <a:gd name="connsiteX3" fmla="*/ 247650 w 247650"/>
                  <a:gd name="connsiteY3" fmla="*/ 66675 h 133350"/>
                  <a:gd name="connsiteX4" fmla="*/ 123825 w 247650"/>
                  <a:gd name="connsiteY4" fmla="*/ 133350 h 133350"/>
                  <a:gd name="connsiteX5" fmla="*/ 123825 w 247650"/>
                  <a:gd name="connsiteY5" fmla="*/ 19050 h 133350"/>
                  <a:gd name="connsiteX6" fmla="*/ 19050 w 247650"/>
                  <a:gd name="connsiteY6" fmla="*/ 66675 h 133350"/>
                  <a:gd name="connsiteX7" fmla="*/ 123825 w 247650"/>
                  <a:gd name="connsiteY7" fmla="*/ 114300 h 133350"/>
                  <a:gd name="connsiteX8" fmla="*/ 228600 w 247650"/>
                  <a:gd name="connsiteY8" fmla="*/ 66675 h 133350"/>
                  <a:gd name="connsiteX9" fmla="*/ 123825 w 247650"/>
                  <a:gd name="connsiteY9" fmla="*/ 19050 h 133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247650" h="133350">
                    <a:moveTo>
                      <a:pt x="123825" y="133350"/>
                    </a:moveTo>
                    <a:cubicBezTo>
                      <a:pt x="54388" y="133350"/>
                      <a:pt x="0" y="104061"/>
                      <a:pt x="0" y="66675"/>
                    </a:cubicBezTo>
                    <a:cubicBezTo>
                      <a:pt x="0" y="29289"/>
                      <a:pt x="54388" y="0"/>
                      <a:pt x="123825" y="0"/>
                    </a:cubicBezTo>
                    <a:cubicBezTo>
                      <a:pt x="193262" y="0"/>
                      <a:pt x="247650" y="29289"/>
                      <a:pt x="247650" y="66675"/>
                    </a:cubicBezTo>
                    <a:cubicBezTo>
                      <a:pt x="247650" y="104061"/>
                      <a:pt x="193262" y="133350"/>
                      <a:pt x="123825" y="133350"/>
                    </a:cubicBezTo>
                    <a:close/>
                    <a:moveTo>
                      <a:pt x="123825" y="19050"/>
                    </a:moveTo>
                    <a:cubicBezTo>
                      <a:pt x="62084" y="19050"/>
                      <a:pt x="19050" y="44148"/>
                      <a:pt x="19050" y="66675"/>
                    </a:cubicBezTo>
                    <a:cubicBezTo>
                      <a:pt x="19050" y="89202"/>
                      <a:pt x="62084" y="114300"/>
                      <a:pt x="123825" y="114300"/>
                    </a:cubicBezTo>
                    <a:cubicBezTo>
                      <a:pt x="185566" y="114300"/>
                      <a:pt x="228600" y="89202"/>
                      <a:pt x="228600" y="66675"/>
                    </a:cubicBezTo>
                    <a:cubicBezTo>
                      <a:pt x="228600" y="44148"/>
                      <a:pt x="185566" y="19050"/>
                      <a:pt x="123825" y="19050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47" name="easyIcon">
            <a:extLst>
              <a:ext uri="{FF2B5EF4-FFF2-40B4-BE49-F238E27FC236}">
                <a16:creationId xmlns:a16="http://schemas.microsoft.com/office/drawing/2014/main" id="{7385744F-5017-4A22-9905-A475AA4300F0}"/>
              </a:ext>
            </a:extLst>
          </p:cNvPr>
          <p:cNvGrpSpPr>
            <a:grpSpLocks noChangeAspect="1"/>
          </p:cNvGrpSpPr>
          <p:nvPr>
            <p:custDataLst>
              <p:tags r:id="rId13"/>
            </p:custDataLst>
          </p:nvPr>
        </p:nvGrpSpPr>
        <p:grpSpPr>
          <a:xfrm>
            <a:off x="5051704" y="4363764"/>
            <a:ext cx="648002" cy="648002"/>
            <a:chOff x="6151005" y="5510724"/>
            <a:chExt cx="535538" cy="535538"/>
          </a:xfrm>
        </p:grpSpPr>
        <p:sp>
          <p:nvSpPr>
            <p:cNvPr id="48" name="Background">
              <a:extLst>
                <a:ext uri="{FF2B5EF4-FFF2-40B4-BE49-F238E27FC236}">
                  <a16:creationId xmlns:a16="http://schemas.microsoft.com/office/drawing/2014/main" id="{8CD6F9EC-5673-446C-9E91-AEB89D3C8F43}"/>
                </a:ext>
              </a:extLst>
            </p:cNvPr>
            <p:cNvSpPr/>
            <p:nvPr/>
          </p:nvSpPr>
          <p:spPr>
            <a:xfrm>
              <a:off x="6151005" y="5510724"/>
              <a:ext cx="535538" cy="53553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F1937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5F1937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grpSp>
          <p:nvGrpSpPr>
            <p:cNvPr id="49" name="Grafik 953">
              <a:extLst>
                <a:ext uri="{FF2B5EF4-FFF2-40B4-BE49-F238E27FC236}">
                  <a16:creationId xmlns:a16="http://schemas.microsoft.com/office/drawing/2014/main" id="{D07A006B-A06D-49BF-A75C-AED2CBA29E0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6256775" y="5632171"/>
              <a:ext cx="324000" cy="292645"/>
              <a:chOff x="6256775" y="5632170"/>
              <a:chExt cx="590550" cy="533400"/>
            </a:xfrm>
            <a:solidFill>
              <a:srgbClr val="003764"/>
            </a:solidFill>
          </p:grpSpPr>
          <p:sp>
            <p:nvSpPr>
              <p:cNvPr id="50" name="Vector">
                <a:extLst>
                  <a:ext uri="{FF2B5EF4-FFF2-40B4-BE49-F238E27FC236}">
                    <a16:creationId xmlns:a16="http://schemas.microsoft.com/office/drawing/2014/main" id="{A0058E88-C968-4FDA-BA50-8927309C58FB}"/>
                  </a:ext>
                </a:extLst>
              </p:cNvPr>
              <p:cNvSpPr/>
              <p:nvPr/>
            </p:nvSpPr>
            <p:spPr bwMode="gray">
              <a:xfrm>
                <a:off x="6542525" y="5632170"/>
                <a:ext cx="19050" cy="485775"/>
              </a:xfrm>
              <a:custGeom>
                <a:avLst/>
                <a:gdLst>
                  <a:gd name="connsiteX0" fmla="*/ 0 w 19050"/>
                  <a:gd name="connsiteY0" fmla="*/ 0 h 485775"/>
                  <a:gd name="connsiteX1" fmla="*/ 19050 w 19050"/>
                  <a:gd name="connsiteY1" fmla="*/ 0 h 485775"/>
                  <a:gd name="connsiteX2" fmla="*/ 19050 w 19050"/>
                  <a:gd name="connsiteY2" fmla="*/ 485775 h 485775"/>
                  <a:gd name="connsiteX3" fmla="*/ 0 w 19050"/>
                  <a:gd name="connsiteY3" fmla="*/ 485775 h 485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48577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485775"/>
                    </a:lnTo>
                    <a:lnTo>
                      <a:pt x="0" y="48577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Vector">
                <a:extLst>
                  <a:ext uri="{FF2B5EF4-FFF2-40B4-BE49-F238E27FC236}">
                    <a16:creationId xmlns:a16="http://schemas.microsoft.com/office/drawing/2014/main" id="{D51D57AF-DFC8-4922-BE5B-AAEE81F0C819}"/>
                  </a:ext>
                </a:extLst>
              </p:cNvPr>
              <p:cNvSpPr/>
              <p:nvPr/>
            </p:nvSpPr>
            <p:spPr bwMode="gray">
              <a:xfrm>
                <a:off x="6409175" y="6146520"/>
                <a:ext cx="285750" cy="19050"/>
              </a:xfrm>
              <a:custGeom>
                <a:avLst/>
                <a:gdLst>
                  <a:gd name="connsiteX0" fmla="*/ 0 w 285750"/>
                  <a:gd name="connsiteY0" fmla="*/ 0 h 19050"/>
                  <a:gd name="connsiteX1" fmla="*/ 285750 w 285750"/>
                  <a:gd name="connsiteY1" fmla="*/ 0 h 19050"/>
                  <a:gd name="connsiteX2" fmla="*/ 285750 w 285750"/>
                  <a:gd name="connsiteY2" fmla="*/ 19050 h 19050"/>
                  <a:gd name="connsiteX3" fmla="*/ 0 w 2857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85750" h="19050">
                    <a:moveTo>
                      <a:pt x="0" y="0"/>
                    </a:moveTo>
                    <a:lnTo>
                      <a:pt x="285750" y="0"/>
                    </a:lnTo>
                    <a:lnTo>
                      <a:pt x="2857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Vector">
                <a:extLst>
                  <a:ext uri="{FF2B5EF4-FFF2-40B4-BE49-F238E27FC236}">
                    <a16:creationId xmlns:a16="http://schemas.microsoft.com/office/drawing/2014/main" id="{802E1CA5-DA70-449D-A4A9-D50426D1ED75}"/>
                  </a:ext>
                </a:extLst>
              </p:cNvPr>
              <p:cNvSpPr/>
              <p:nvPr/>
            </p:nvSpPr>
            <p:spPr bwMode="gray">
              <a:xfrm>
                <a:off x="6266300" y="5860770"/>
                <a:ext cx="228600" cy="19050"/>
              </a:xfrm>
              <a:custGeom>
                <a:avLst/>
                <a:gdLst>
                  <a:gd name="connsiteX0" fmla="*/ 0 w 228600"/>
                  <a:gd name="connsiteY0" fmla="*/ 0 h 19050"/>
                  <a:gd name="connsiteX1" fmla="*/ 228600 w 228600"/>
                  <a:gd name="connsiteY1" fmla="*/ 0 h 19050"/>
                  <a:gd name="connsiteX2" fmla="*/ 228600 w 228600"/>
                  <a:gd name="connsiteY2" fmla="*/ 19050 h 19050"/>
                  <a:gd name="connsiteX3" fmla="*/ 0 w 22860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600" h="19050">
                    <a:moveTo>
                      <a:pt x="0" y="0"/>
                    </a:moveTo>
                    <a:lnTo>
                      <a:pt x="228600" y="0"/>
                    </a:lnTo>
                    <a:lnTo>
                      <a:pt x="22860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Vector">
                <a:extLst>
                  <a:ext uri="{FF2B5EF4-FFF2-40B4-BE49-F238E27FC236}">
                    <a16:creationId xmlns:a16="http://schemas.microsoft.com/office/drawing/2014/main" id="{42703338-5D18-48C5-8153-3FB669A99002}"/>
                  </a:ext>
                </a:extLst>
              </p:cNvPr>
              <p:cNvSpPr/>
              <p:nvPr/>
            </p:nvSpPr>
            <p:spPr bwMode="gray">
              <a:xfrm>
                <a:off x="6609200" y="5860770"/>
                <a:ext cx="228600" cy="19050"/>
              </a:xfrm>
              <a:custGeom>
                <a:avLst/>
                <a:gdLst>
                  <a:gd name="connsiteX0" fmla="*/ 0 w 228600"/>
                  <a:gd name="connsiteY0" fmla="*/ 0 h 19050"/>
                  <a:gd name="connsiteX1" fmla="*/ 228600 w 228600"/>
                  <a:gd name="connsiteY1" fmla="*/ 0 h 19050"/>
                  <a:gd name="connsiteX2" fmla="*/ 228600 w 228600"/>
                  <a:gd name="connsiteY2" fmla="*/ 19050 h 19050"/>
                  <a:gd name="connsiteX3" fmla="*/ 0 w 22860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28600" h="19050">
                    <a:moveTo>
                      <a:pt x="0" y="0"/>
                    </a:moveTo>
                    <a:lnTo>
                      <a:pt x="228600" y="0"/>
                    </a:lnTo>
                    <a:lnTo>
                      <a:pt x="22860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Vector">
                <a:extLst>
                  <a:ext uri="{FF2B5EF4-FFF2-40B4-BE49-F238E27FC236}">
                    <a16:creationId xmlns:a16="http://schemas.microsoft.com/office/drawing/2014/main" id="{868EF65C-3E0A-4853-B179-BBD545D9553C}"/>
                  </a:ext>
                </a:extLst>
              </p:cNvPr>
              <p:cNvSpPr/>
              <p:nvPr/>
            </p:nvSpPr>
            <p:spPr bwMode="gray">
              <a:xfrm>
                <a:off x="6256775" y="5689320"/>
                <a:ext cx="590550" cy="285750"/>
              </a:xfrm>
              <a:custGeom>
                <a:avLst/>
                <a:gdLst>
                  <a:gd name="connsiteX0" fmla="*/ 466725 w 590550"/>
                  <a:gd name="connsiteY0" fmla="*/ 285750 h 285750"/>
                  <a:gd name="connsiteX1" fmla="*/ 342900 w 590550"/>
                  <a:gd name="connsiteY1" fmla="*/ 180975 h 285750"/>
                  <a:gd name="connsiteX2" fmla="*/ 342900 w 590550"/>
                  <a:gd name="connsiteY2" fmla="*/ 178089 h 285750"/>
                  <a:gd name="connsiteX3" fmla="*/ 448932 w 590550"/>
                  <a:gd name="connsiteY3" fmla="*/ 19050 h 285750"/>
                  <a:gd name="connsiteX4" fmla="*/ 141627 w 590550"/>
                  <a:gd name="connsiteY4" fmla="*/ 19050 h 285750"/>
                  <a:gd name="connsiteX5" fmla="*/ 247650 w 590550"/>
                  <a:gd name="connsiteY5" fmla="*/ 178089 h 285750"/>
                  <a:gd name="connsiteX6" fmla="*/ 247650 w 590550"/>
                  <a:gd name="connsiteY6" fmla="*/ 180975 h 285750"/>
                  <a:gd name="connsiteX7" fmla="*/ 123825 w 590550"/>
                  <a:gd name="connsiteY7" fmla="*/ 285750 h 285750"/>
                  <a:gd name="connsiteX8" fmla="*/ 0 w 590550"/>
                  <a:gd name="connsiteY8" fmla="*/ 180975 h 285750"/>
                  <a:gd name="connsiteX9" fmla="*/ 0 w 590550"/>
                  <a:gd name="connsiteY9" fmla="*/ 178089 h 285750"/>
                  <a:gd name="connsiteX10" fmla="*/ 118729 w 590550"/>
                  <a:gd name="connsiteY10" fmla="*/ 0 h 285750"/>
                  <a:gd name="connsiteX11" fmla="*/ 471821 w 590550"/>
                  <a:gd name="connsiteY11" fmla="*/ 0 h 285750"/>
                  <a:gd name="connsiteX12" fmla="*/ 590550 w 590550"/>
                  <a:gd name="connsiteY12" fmla="*/ 178089 h 285750"/>
                  <a:gd name="connsiteX13" fmla="*/ 590550 w 590550"/>
                  <a:gd name="connsiteY13" fmla="*/ 180975 h 285750"/>
                  <a:gd name="connsiteX14" fmla="*/ 466725 w 590550"/>
                  <a:gd name="connsiteY14" fmla="*/ 285750 h 285750"/>
                  <a:gd name="connsiteX15" fmla="*/ 362026 w 590550"/>
                  <a:gd name="connsiteY15" fmla="*/ 183756 h 285750"/>
                  <a:gd name="connsiteX16" fmla="*/ 466725 w 590550"/>
                  <a:gd name="connsiteY16" fmla="*/ 266700 h 285750"/>
                  <a:gd name="connsiteX17" fmla="*/ 571424 w 590550"/>
                  <a:gd name="connsiteY17" fmla="*/ 183756 h 285750"/>
                  <a:gd name="connsiteX18" fmla="*/ 466725 w 590550"/>
                  <a:gd name="connsiteY18" fmla="*/ 26699 h 285750"/>
                  <a:gd name="connsiteX19" fmla="*/ 362026 w 590550"/>
                  <a:gd name="connsiteY19" fmla="*/ 183756 h 285750"/>
                  <a:gd name="connsiteX20" fmla="*/ 19117 w 590550"/>
                  <a:gd name="connsiteY20" fmla="*/ 183756 h 285750"/>
                  <a:gd name="connsiteX21" fmla="*/ 123825 w 590550"/>
                  <a:gd name="connsiteY21" fmla="*/ 266700 h 285750"/>
                  <a:gd name="connsiteX22" fmla="*/ 228533 w 590550"/>
                  <a:gd name="connsiteY22" fmla="*/ 183756 h 285750"/>
                  <a:gd name="connsiteX23" fmla="*/ 123825 w 590550"/>
                  <a:gd name="connsiteY23" fmla="*/ 26699 h 285750"/>
                  <a:gd name="connsiteX24" fmla="*/ 19117 w 590550"/>
                  <a:gd name="connsiteY24" fmla="*/ 183756 h 2857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</a:cxnLst>
                <a:rect l="l" t="t" r="r" b="b"/>
                <a:pathLst>
                  <a:path w="590550" h="285750">
                    <a:moveTo>
                      <a:pt x="466725" y="285750"/>
                    </a:moveTo>
                    <a:cubicBezTo>
                      <a:pt x="382257" y="285750"/>
                      <a:pt x="342900" y="223237"/>
                      <a:pt x="342900" y="180975"/>
                    </a:cubicBezTo>
                    <a:lnTo>
                      <a:pt x="342900" y="178089"/>
                    </a:lnTo>
                    <a:lnTo>
                      <a:pt x="448932" y="19050"/>
                    </a:lnTo>
                    <a:lnTo>
                      <a:pt x="141627" y="19050"/>
                    </a:lnTo>
                    <a:lnTo>
                      <a:pt x="247650" y="178089"/>
                    </a:lnTo>
                    <a:lnTo>
                      <a:pt x="247650" y="180975"/>
                    </a:lnTo>
                    <a:cubicBezTo>
                      <a:pt x="247650" y="223237"/>
                      <a:pt x="208293" y="285750"/>
                      <a:pt x="123825" y="285750"/>
                    </a:cubicBezTo>
                    <a:cubicBezTo>
                      <a:pt x="39357" y="285750"/>
                      <a:pt x="0" y="223237"/>
                      <a:pt x="0" y="180975"/>
                    </a:cubicBezTo>
                    <a:lnTo>
                      <a:pt x="0" y="178089"/>
                    </a:lnTo>
                    <a:lnTo>
                      <a:pt x="118729" y="0"/>
                    </a:lnTo>
                    <a:lnTo>
                      <a:pt x="471821" y="0"/>
                    </a:lnTo>
                    <a:lnTo>
                      <a:pt x="590550" y="178089"/>
                    </a:lnTo>
                    <a:lnTo>
                      <a:pt x="590550" y="180975"/>
                    </a:lnTo>
                    <a:cubicBezTo>
                      <a:pt x="590550" y="223237"/>
                      <a:pt x="551193" y="285750"/>
                      <a:pt x="466725" y="285750"/>
                    </a:cubicBezTo>
                    <a:close/>
                    <a:moveTo>
                      <a:pt x="362026" y="183756"/>
                    </a:moveTo>
                    <a:cubicBezTo>
                      <a:pt x="363741" y="218218"/>
                      <a:pt x="397135" y="266700"/>
                      <a:pt x="466725" y="266700"/>
                    </a:cubicBezTo>
                    <a:cubicBezTo>
                      <a:pt x="536315" y="266700"/>
                      <a:pt x="569709" y="218218"/>
                      <a:pt x="571424" y="183756"/>
                    </a:cubicBezTo>
                    <a:lnTo>
                      <a:pt x="466725" y="26699"/>
                    </a:lnTo>
                    <a:lnTo>
                      <a:pt x="362026" y="183756"/>
                    </a:lnTo>
                    <a:close/>
                    <a:moveTo>
                      <a:pt x="19117" y="183756"/>
                    </a:moveTo>
                    <a:cubicBezTo>
                      <a:pt x="20841" y="218218"/>
                      <a:pt x="54245" y="266700"/>
                      <a:pt x="123825" y="266700"/>
                    </a:cubicBezTo>
                    <a:cubicBezTo>
                      <a:pt x="193405" y="266700"/>
                      <a:pt x="226809" y="218218"/>
                      <a:pt x="228533" y="183756"/>
                    </a:cubicBezTo>
                    <a:lnTo>
                      <a:pt x="123825" y="26699"/>
                    </a:lnTo>
                    <a:lnTo>
                      <a:pt x="19117" y="183756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</p:grpSp>
      </p:grpSp>
      <p:grpSp>
        <p:nvGrpSpPr>
          <p:cNvPr id="55" name="easyIcon">
            <a:extLst>
              <a:ext uri="{FF2B5EF4-FFF2-40B4-BE49-F238E27FC236}">
                <a16:creationId xmlns:a16="http://schemas.microsoft.com/office/drawing/2014/main" id="{F6B57B7B-D453-4364-AD23-C01945B645E9}"/>
              </a:ext>
            </a:extLst>
          </p:cNvPr>
          <p:cNvGrpSpPr>
            <a:grpSpLocks noChangeAspect="1"/>
          </p:cNvGrpSpPr>
          <p:nvPr>
            <p:custDataLst>
              <p:tags r:id="rId14"/>
            </p:custDataLst>
          </p:nvPr>
        </p:nvGrpSpPr>
        <p:grpSpPr>
          <a:xfrm>
            <a:off x="6476524" y="3050038"/>
            <a:ext cx="642851" cy="642852"/>
            <a:chOff x="8887307" y="3576615"/>
            <a:chExt cx="535537" cy="535538"/>
          </a:xfrm>
        </p:grpSpPr>
        <p:sp>
          <p:nvSpPr>
            <p:cNvPr id="56" name="Background">
              <a:extLst>
                <a:ext uri="{FF2B5EF4-FFF2-40B4-BE49-F238E27FC236}">
                  <a16:creationId xmlns:a16="http://schemas.microsoft.com/office/drawing/2014/main" id="{AB7E847B-81DF-48F0-8582-40801FD75858}"/>
                </a:ext>
              </a:extLst>
            </p:cNvPr>
            <p:cNvSpPr/>
            <p:nvPr/>
          </p:nvSpPr>
          <p:spPr>
            <a:xfrm>
              <a:off x="8887307" y="3576615"/>
              <a:ext cx="535537" cy="535538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5F1937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5F1937"/>
                  </a:solidFill>
                  <a:prstDash val="solid"/>
                  <a:miter lim="800000"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0" rIns="0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dirty="0">
                <a:solidFill>
                  <a:schemeClr val="tx1"/>
                </a:solidFill>
              </a:endParaRPr>
            </a:p>
          </p:txBody>
        </p:sp>
        <p:grpSp>
          <p:nvGrpSpPr>
            <p:cNvPr id="57" name="Grafik 258">
              <a:extLst>
                <a:ext uri="{FF2B5EF4-FFF2-40B4-BE49-F238E27FC236}">
                  <a16:creationId xmlns:a16="http://schemas.microsoft.com/office/drawing/2014/main" id="{92CE5F4F-2D65-4D49-A4F8-23DE817D61B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8993076" y="3692836"/>
              <a:ext cx="324000" cy="303097"/>
              <a:chOff x="8993076" y="3692835"/>
              <a:chExt cx="590550" cy="552450"/>
            </a:xfrm>
            <a:solidFill>
              <a:srgbClr val="003764"/>
            </a:solidFill>
          </p:grpSpPr>
          <p:sp>
            <p:nvSpPr>
              <p:cNvPr id="58" name="Vector">
                <a:extLst>
                  <a:ext uri="{FF2B5EF4-FFF2-40B4-BE49-F238E27FC236}">
                    <a16:creationId xmlns:a16="http://schemas.microsoft.com/office/drawing/2014/main" id="{E2A4952F-CBF8-4CDE-906C-BB9607A85B28}"/>
                  </a:ext>
                </a:extLst>
              </p:cNvPr>
              <p:cNvSpPr/>
              <p:nvPr/>
            </p:nvSpPr>
            <p:spPr bwMode="gray">
              <a:xfrm>
                <a:off x="9183576" y="3692835"/>
                <a:ext cx="209550" cy="95250"/>
              </a:xfrm>
              <a:custGeom>
                <a:avLst/>
                <a:gdLst>
                  <a:gd name="connsiteX0" fmla="*/ 209550 w 209550"/>
                  <a:gd name="connsiteY0" fmla="*/ 95250 h 95250"/>
                  <a:gd name="connsiteX1" fmla="*/ 190500 w 209550"/>
                  <a:gd name="connsiteY1" fmla="*/ 95250 h 95250"/>
                  <a:gd name="connsiteX2" fmla="*/ 190500 w 209550"/>
                  <a:gd name="connsiteY2" fmla="*/ 19050 h 95250"/>
                  <a:gd name="connsiteX3" fmla="*/ 19050 w 209550"/>
                  <a:gd name="connsiteY3" fmla="*/ 19050 h 95250"/>
                  <a:gd name="connsiteX4" fmla="*/ 19050 w 209550"/>
                  <a:gd name="connsiteY4" fmla="*/ 95250 h 95250"/>
                  <a:gd name="connsiteX5" fmla="*/ 0 w 209550"/>
                  <a:gd name="connsiteY5" fmla="*/ 95250 h 95250"/>
                  <a:gd name="connsiteX6" fmla="*/ 0 w 209550"/>
                  <a:gd name="connsiteY6" fmla="*/ 0 h 95250"/>
                  <a:gd name="connsiteX7" fmla="*/ 209550 w 209550"/>
                  <a:gd name="connsiteY7" fmla="*/ 0 h 95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209550" h="95250">
                    <a:moveTo>
                      <a:pt x="209550" y="95250"/>
                    </a:moveTo>
                    <a:lnTo>
                      <a:pt x="190500" y="95250"/>
                    </a:lnTo>
                    <a:lnTo>
                      <a:pt x="190500" y="19050"/>
                    </a:lnTo>
                    <a:lnTo>
                      <a:pt x="19050" y="19050"/>
                    </a:lnTo>
                    <a:lnTo>
                      <a:pt x="19050" y="95250"/>
                    </a:lnTo>
                    <a:lnTo>
                      <a:pt x="0" y="95250"/>
                    </a:lnTo>
                    <a:lnTo>
                      <a:pt x="0" y="0"/>
                    </a:lnTo>
                    <a:lnTo>
                      <a:pt x="209550" y="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Vector">
                <a:extLst>
                  <a:ext uri="{FF2B5EF4-FFF2-40B4-BE49-F238E27FC236}">
                    <a16:creationId xmlns:a16="http://schemas.microsoft.com/office/drawing/2014/main" id="{E5BFD6BD-2ADB-4631-9EA0-5D682737A0F5}"/>
                  </a:ext>
                </a:extLst>
              </p:cNvPr>
              <p:cNvSpPr/>
              <p:nvPr/>
            </p:nvSpPr>
            <p:spPr bwMode="gray">
              <a:xfrm>
                <a:off x="8993076" y="3769035"/>
                <a:ext cx="590550" cy="323850"/>
              </a:xfrm>
              <a:custGeom>
                <a:avLst/>
                <a:gdLst>
                  <a:gd name="connsiteX0" fmla="*/ 590550 w 590550"/>
                  <a:gd name="connsiteY0" fmla="*/ 323850 h 323850"/>
                  <a:gd name="connsiteX1" fmla="*/ 476250 w 590550"/>
                  <a:gd name="connsiteY1" fmla="*/ 323850 h 323850"/>
                  <a:gd name="connsiteX2" fmla="*/ 476250 w 590550"/>
                  <a:gd name="connsiteY2" fmla="*/ 304800 h 323850"/>
                  <a:gd name="connsiteX3" fmla="*/ 571500 w 590550"/>
                  <a:gd name="connsiteY3" fmla="*/ 304800 h 323850"/>
                  <a:gd name="connsiteX4" fmla="*/ 571500 w 590550"/>
                  <a:gd name="connsiteY4" fmla="*/ 47625 h 323850"/>
                  <a:gd name="connsiteX5" fmla="*/ 542925 w 590550"/>
                  <a:gd name="connsiteY5" fmla="*/ 19050 h 323850"/>
                  <a:gd name="connsiteX6" fmla="*/ 47625 w 590550"/>
                  <a:gd name="connsiteY6" fmla="*/ 19050 h 323850"/>
                  <a:gd name="connsiteX7" fmla="*/ 19050 w 590550"/>
                  <a:gd name="connsiteY7" fmla="*/ 47625 h 323850"/>
                  <a:gd name="connsiteX8" fmla="*/ 19050 w 590550"/>
                  <a:gd name="connsiteY8" fmla="*/ 304800 h 323850"/>
                  <a:gd name="connsiteX9" fmla="*/ 114300 w 590550"/>
                  <a:gd name="connsiteY9" fmla="*/ 304800 h 323850"/>
                  <a:gd name="connsiteX10" fmla="*/ 114300 w 590550"/>
                  <a:gd name="connsiteY10" fmla="*/ 323850 h 323850"/>
                  <a:gd name="connsiteX11" fmla="*/ 0 w 590550"/>
                  <a:gd name="connsiteY11" fmla="*/ 323850 h 323850"/>
                  <a:gd name="connsiteX12" fmla="*/ 0 w 590550"/>
                  <a:gd name="connsiteY12" fmla="*/ 47625 h 323850"/>
                  <a:gd name="connsiteX13" fmla="*/ 47625 w 590550"/>
                  <a:gd name="connsiteY13" fmla="*/ 0 h 323850"/>
                  <a:gd name="connsiteX14" fmla="*/ 542925 w 590550"/>
                  <a:gd name="connsiteY14" fmla="*/ 0 h 323850"/>
                  <a:gd name="connsiteX15" fmla="*/ 590550 w 590550"/>
                  <a:gd name="connsiteY15" fmla="*/ 47625 h 323850"/>
                  <a:gd name="connsiteX16" fmla="*/ 590550 w 590550"/>
                  <a:gd name="connsiteY16" fmla="*/ 323850 h 323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90550" h="323850">
                    <a:moveTo>
                      <a:pt x="590550" y="323850"/>
                    </a:moveTo>
                    <a:lnTo>
                      <a:pt x="476250" y="323850"/>
                    </a:lnTo>
                    <a:lnTo>
                      <a:pt x="476250" y="304800"/>
                    </a:lnTo>
                    <a:lnTo>
                      <a:pt x="571500" y="304800"/>
                    </a:lnTo>
                    <a:lnTo>
                      <a:pt x="571500" y="47625"/>
                    </a:lnTo>
                    <a:cubicBezTo>
                      <a:pt x="571500" y="31871"/>
                      <a:pt x="558679" y="19050"/>
                      <a:pt x="542925" y="19050"/>
                    </a:cubicBezTo>
                    <a:lnTo>
                      <a:pt x="47625" y="19050"/>
                    </a:lnTo>
                    <a:cubicBezTo>
                      <a:pt x="31871" y="19050"/>
                      <a:pt x="19050" y="31871"/>
                      <a:pt x="19050" y="47625"/>
                    </a:cubicBezTo>
                    <a:lnTo>
                      <a:pt x="19050" y="304800"/>
                    </a:lnTo>
                    <a:lnTo>
                      <a:pt x="114300" y="304800"/>
                    </a:lnTo>
                    <a:lnTo>
                      <a:pt x="114300" y="323850"/>
                    </a:lnTo>
                    <a:lnTo>
                      <a:pt x="0" y="323850"/>
                    </a:lnTo>
                    <a:lnTo>
                      <a:pt x="0" y="47625"/>
                    </a:lnTo>
                    <a:cubicBezTo>
                      <a:pt x="0" y="21365"/>
                      <a:pt x="21365" y="0"/>
                      <a:pt x="47625" y="0"/>
                    </a:cubicBezTo>
                    <a:lnTo>
                      <a:pt x="542925" y="0"/>
                    </a:lnTo>
                    <a:cubicBezTo>
                      <a:pt x="569185" y="0"/>
                      <a:pt x="590550" y="21365"/>
                      <a:pt x="590550" y="47625"/>
                    </a:cubicBezTo>
                    <a:lnTo>
                      <a:pt x="590550" y="3238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Vector">
                <a:extLst>
                  <a:ext uri="{FF2B5EF4-FFF2-40B4-BE49-F238E27FC236}">
                    <a16:creationId xmlns:a16="http://schemas.microsoft.com/office/drawing/2014/main" id="{6D5B2E76-DA5C-4DB8-96C4-9EA0BE7619E6}"/>
                  </a:ext>
                </a:extLst>
              </p:cNvPr>
              <p:cNvSpPr/>
              <p:nvPr/>
            </p:nvSpPr>
            <p:spPr bwMode="gray">
              <a:xfrm>
                <a:off x="9031176" y="4121460"/>
                <a:ext cx="514350" cy="123825"/>
              </a:xfrm>
              <a:custGeom>
                <a:avLst/>
                <a:gdLst>
                  <a:gd name="connsiteX0" fmla="*/ 466725 w 514350"/>
                  <a:gd name="connsiteY0" fmla="*/ 123825 h 123825"/>
                  <a:gd name="connsiteX1" fmla="*/ 47625 w 514350"/>
                  <a:gd name="connsiteY1" fmla="*/ 123825 h 123825"/>
                  <a:gd name="connsiteX2" fmla="*/ 0 w 514350"/>
                  <a:gd name="connsiteY2" fmla="*/ 76200 h 123825"/>
                  <a:gd name="connsiteX3" fmla="*/ 0 w 514350"/>
                  <a:gd name="connsiteY3" fmla="*/ 0 h 123825"/>
                  <a:gd name="connsiteX4" fmla="*/ 19050 w 514350"/>
                  <a:gd name="connsiteY4" fmla="*/ 0 h 123825"/>
                  <a:gd name="connsiteX5" fmla="*/ 19050 w 514350"/>
                  <a:gd name="connsiteY5" fmla="*/ 76200 h 123825"/>
                  <a:gd name="connsiteX6" fmla="*/ 47625 w 514350"/>
                  <a:gd name="connsiteY6" fmla="*/ 104775 h 123825"/>
                  <a:gd name="connsiteX7" fmla="*/ 466725 w 514350"/>
                  <a:gd name="connsiteY7" fmla="*/ 104775 h 123825"/>
                  <a:gd name="connsiteX8" fmla="*/ 495300 w 514350"/>
                  <a:gd name="connsiteY8" fmla="*/ 76200 h 123825"/>
                  <a:gd name="connsiteX9" fmla="*/ 495300 w 514350"/>
                  <a:gd name="connsiteY9" fmla="*/ 0 h 123825"/>
                  <a:gd name="connsiteX10" fmla="*/ 514350 w 514350"/>
                  <a:gd name="connsiteY10" fmla="*/ 0 h 123825"/>
                  <a:gd name="connsiteX11" fmla="*/ 514350 w 514350"/>
                  <a:gd name="connsiteY11" fmla="*/ 76200 h 123825"/>
                  <a:gd name="connsiteX12" fmla="*/ 466725 w 514350"/>
                  <a:gd name="connsiteY12" fmla="*/ 123825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514350" h="123825">
                    <a:moveTo>
                      <a:pt x="466725" y="123825"/>
                    </a:moveTo>
                    <a:lnTo>
                      <a:pt x="47625" y="123825"/>
                    </a:lnTo>
                    <a:cubicBezTo>
                      <a:pt x="21365" y="123825"/>
                      <a:pt x="0" y="102460"/>
                      <a:pt x="0" y="76200"/>
                    </a:cubicBezTo>
                    <a:lnTo>
                      <a:pt x="0" y="0"/>
                    </a:lnTo>
                    <a:lnTo>
                      <a:pt x="19050" y="0"/>
                    </a:lnTo>
                    <a:lnTo>
                      <a:pt x="19050" y="76200"/>
                    </a:lnTo>
                    <a:cubicBezTo>
                      <a:pt x="19050" y="91954"/>
                      <a:pt x="31871" y="104775"/>
                      <a:pt x="47625" y="104775"/>
                    </a:cubicBezTo>
                    <a:lnTo>
                      <a:pt x="466725" y="104775"/>
                    </a:lnTo>
                    <a:cubicBezTo>
                      <a:pt x="482479" y="104775"/>
                      <a:pt x="495300" y="91954"/>
                      <a:pt x="495300" y="76200"/>
                    </a:cubicBezTo>
                    <a:lnTo>
                      <a:pt x="495300" y="0"/>
                    </a:lnTo>
                    <a:lnTo>
                      <a:pt x="514350" y="0"/>
                    </a:lnTo>
                    <a:lnTo>
                      <a:pt x="514350" y="76200"/>
                    </a:lnTo>
                    <a:cubicBezTo>
                      <a:pt x="514350" y="102460"/>
                      <a:pt x="492985" y="123825"/>
                      <a:pt x="466725" y="123825"/>
                    </a:cubicBez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Vector">
                <a:extLst>
                  <a:ext uri="{FF2B5EF4-FFF2-40B4-BE49-F238E27FC236}">
                    <a16:creationId xmlns:a16="http://schemas.microsoft.com/office/drawing/2014/main" id="{9C2642C4-0707-48DA-A32A-55225A208353}"/>
                  </a:ext>
                </a:extLst>
              </p:cNvPr>
              <p:cNvSpPr/>
              <p:nvPr/>
            </p:nvSpPr>
            <p:spPr bwMode="gray">
              <a:xfrm>
                <a:off x="9135951" y="3769035"/>
                <a:ext cx="19050" cy="276225"/>
              </a:xfrm>
              <a:custGeom>
                <a:avLst/>
                <a:gdLst>
                  <a:gd name="connsiteX0" fmla="*/ 0 w 19050"/>
                  <a:gd name="connsiteY0" fmla="*/ 0 h 276225"/>
                  <a:gd name="connsiteX1" fmla="*/ 19050 w 19050"/>
                  <a:gd name="connsiteY1" fmla="*/ 0 h 276225"/>
                  <a:gd name="connsiteX2" fmla="*/ 19050 w 19050"/>
                  <a:gd name="connsiteY2" fmla="*/ 276225 h 276225"/>
                  <a:gd name="connsiteX3" fmla="*/ 0 w 19050"/>
                  <a:gd name="connsiteY3" fmla="*/ 276225 h 27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2762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276225"/>
                    </a:lnTo>
                    <a:lnTo>
                      <a:pt x="0" y="27622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Vector">
                <a:extLst>
                  <a:ext uri="{FF2B5EF4-FFF2-40B4-BE49-F238E27FC236}">
                    <a16:creationId xmlns:a16="http://schemas.microsoft.com/office/drawing/2014/main" id="{D3288CF0-25A5-4E82-B00A-FC930D075DA7}"/>
                  </a:ext>
                </a:extLst>
              </p:cNvPr>
              <p:cNvSpPr/>
              <p:nvPr/>
            </p:nvSpPr>
            <p:spPr bwMode="gray">
              <a:xfrm>
                <a:off x="9135951" y="4121460"/>
                <a:ext cx="19050" cy="123825"/>
              </a:xfrm>
              <a:custGeom>
                <a:avLst/>
                <a:gdLst>
                  <a:gd name="connsiteX0" fmla="*/ 0 w 19050"/>
                  <a:gd name="connsiteY0" fmla="*/ 0 h 123825"/>
                  <a:gd name="connsiteX1" fmla="*/ 19050 w 19050"/>
                  <a:gd name="connsiteY1" fmla="*/ 0 h 123825"/>
                  <a:gd name="connsiteX2" fmla="*/ 19050 w 19050"/>
                  <a:gd name="connsiteY2" fmla="*/ 123825 h 123825"/>
                  <a:gd name="connsiteX3" fmla="*/ 0 w 19050"/>
                  <a:gd name="connsiteY3" fmla="*/ 123825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238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23825"/>
                    </a:lnTo>
                    <a:lnTo>
                      <a:pt x="0" y="12382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Vector">
                <a:extLst>
                  <a:ext uri="{FF2B5EF4-FFF2-40B4-BE49-F238E27FC236}">
                    <a16:creationId xmlns:a16="http://schemas.microsoft.com/office/drawing/2014/main" id="{7EE1037E-DF56-451A-9DD2-07B7FF5EC49F}"/>
                  </a:ext>
                </a:extLst>
              </p:cNvPr>
              <p:cNvSpPr/>
              <p:nvPr/>
            </p:nvSpPr>
            <p:spPr bwMode="gray">
              <a:xfrm>
                <a:off x="9421701" y="3769035"/>
                <a:ext cx="19050" cy="276225"/>
              </a:xfrm>
              <a:custGeom>
                <a:avLst/>
                <a:gdLst>
                  <a:gd name="connsiteX0" fmla="*/ 0 w 19050"/>
                  <a:gd name="connsiteY0" fmla="*/ 0 h 276225"/>
                  <a:gd name="connsiteX1" fmla="*/ 19050 w 19050"/>
                  <a:gd name="connsiteY1" fmla="*/ 0 h 276225"/>
                  <a:gd name="connsiteX2" fmla="*/ 19050 w 19050"/>
                  <a:gd name="connsiteY2" fmla="*/ 276225 h 276225"/>
                  <a:gd name="connsiteX3" fmla="*/ 0 w 19050"/>
                  <a:gd name="connsiteY3" fmla="*/ 276225 h 2762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2762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276225"/>
                    </a:lnTo>
                    <a:lnTo>
                      <a:pt x="0" y="27622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Vector">
                <a:extLst>
                  <a:ext uri="{FF2B5EF4-FFF2-40B4-BE49-F238E27FC236}">
                    <a16:creationId xmlns:a16="http://schemas.microsoft.com/office/drawing/2014/main" id="{62B30317-D0EE-460B-A549-3F83ED944F03}"/>
                  </a:ext>
                </a:extLst>
              </p:cNvPr>
              <p:cNvSpPr/>
              <p:nvPr/>
            </p:nvSpPr>
            <p:spPr bwMode="gray">
              <a:xfrm>
                <a:off x="9421701" y="4121460"/>
                <a:ext cx="19050" cy="123825"/>
              </a:xfrm>
              <a:custGeom>
                <a:avLst/>
                <a:gdLst>
                  <a:gd name="connsiteX0" fmla="*/ 0 w 19050"/>
                  <a:gd name="connsiteY0" fmla="*/ 0 h 123825"/>
                  <a:gd name="connsiteX1" fmla="*/ 19050 w 19050"/>
                  <a:gd name="connsiteY1" fmla="*/ 0 h 123825"/>
                  <a:gd name="connsiteX2" fmla="*/ 19050 w 19050"/>
                  <a:gd name="connsiteY2" fmla="*/ 123825 h 123825"/>
                  <a:gd name="connsiteX3" fmla="*/ 0 w 19050"/>
                  <a:gd name="connsiteY3" fmla="*/ 123825 h 123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9050" h="123825">
                    <a:moveTo>
                      <a:pt x="0" y="0"/>
                    </a:moveTo>
                    <a:lnTo>
                      <a:pt x="19050" y="0"/>
                    </a:lnTo>
                    <a:lnTo>
                      <a:pt x="19050" y="123825"/>
                    </a:lnTo>
                    <a:lnTo>
                      <a:pt x="0" y="123825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Vector">
                <a:extLst>
                  <a:ext uri="{FF2B5EF4-FFF2-40B4-BE49-F238E27FC236}">
                    <a16:creationId xmlns:a16="http://schemas.microsoft.com/office/drawing/2014/main" id="{1F9B964E-FFBC-4735-B024-60955F7B00D1}"/>
                  </a:ext>
                </a:extLst>
              </p:cNvPr>
              <p:cNvSpPr/>
              <p:nvPr/>
            </p:nvSpPr>
            <p:spPr bwMode="gray">
              <a:xfrm>
                <a:off x="9183576" y="4073835"/>
                <a:ext cx="209550" cy="19050"/>
              </a:xfrm>
              <a:custGeom>
                <a:avLst/>
                <a:gdLst>
                  <a:gd name="connsiteX0" fmla="*/ 0 w 209550"/>
                  <a:gd name="connsiteY0" fmla="*/ 0 h 19050"/>
                  <a:gd name="connsiteX1" fmla="*/ 209550 w 209550"/>
                  <a:gd name="connsiteY1" fmla="*/ 0 h 19050"/>
                  <a:gd name="connsiteX2" fmla="*/ 209550 w 209550"/>
                  <a:gd name="connsiteY2" fmla="*/ 19050 h 19050"/>
                  <a:gd name="connsiteX3" fmla="*/ 0 w 209550"/>
                  <a:gd name="connsiteY3" fmla="*/ 19050 h 190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209550" h="19050">
                    <a:moveTo>
                      <a:pt x="0" y="0"/>
                    </a:moveTo>
                    <a:lnTo>
                      <a:pt x="209550" y="0"/>
                    </a:lnTo>
                    <a:lnTo>
                      <a:pt x="209550" y="19050"/>
                    </a:lnTo>
                    <a:lnTo>
                      <a:pt x="0" y="190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Vector">
                <a:extLst>
                  <a:ext uri="{FF2B5EF4-FFF2-40B4-BE49-F238E27FC236}">
                    <a16:creationId xmlns:a16="http://schemas.microsoft.com/office/drawing/2014/main" id="{DD5FF9E8-D285-448E-91B7-4FE47681B389}"/>
                  </a:ext>
                </a:extLst>
              </p:cNvPr>
              <p:cNvSpPr/>
              <p:nvPr/>
            </p:nvSpPr>
            <p:spPr bwMode="gray">
              <a:xfrm>
                <a:off x="9088326" y="4026210"/>
                <a:ext cx="114300" cy="114300"/>
              </a:xfrm>
              <a:custGeom>
                <a:avLst/>
                <a:gdLst>
                  <a:gd name="connsiteX0" fmla="*/ 114300 w 114300"/>
                  <a:gd name="connsiteY0" fmla="*/ 114300 h 114300"/>
                  <a:gd name="connsiteX1" fmla="*/ 0 w 114300"/>
                  <a:gd name="connsiteY1" fmla="*/ 114300 h 114300"/>
                  <a:gd name="connsiteX2" fmla="*/ 0 w 114300"/>
                  <a:gd name="connsiteY2" fmla="*/ 0 h 114300"/>
                  <a:gd name="connsiteX3" fmla="*/ 114300 w 114300"/>
                  <a:gd name="connsiteY3" fmla="*/ 0 h 114300"/>
                  <a:gd name="connsiteX4" fmla="*/ 114300 w 114300"/>
                  <a:gd name="connsiteY4" fmla="*/ 114300 h 114300"/>
                  <a:gd name="connsiteX5" fmla="*/ 19050 w 114300"/>
                  <a:gd name="connsiteY5" fmla="*/ 95250 h 114300"/>
                  <a:gd name="connsiteX6" fmla="*/ 95250 w 114300"/>
                  <a:gd name="connsiteY6" fmla="*/ 95250 h 114300"/>
                  <a:gd name="connsiteX7" fmla="*/ 95250 w 114300"/>
                  <a:gd name="connsiteY7" fmla="*/ 19050 h 114300"/>
                  <a:gd name="connsiteX8" fmla="*/ 19050 w 114300"/>
                  <a:gd name="connsiteY8" fmla="*/ 19050 h 114300"/>
                  <a:gd name="connsiteX9" fmla="*/ 19050 w 114300"/>
                  <a:gd name="connsiteY9" fmla="*/ 9525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4300" h="114300">
                    <a:moveTo>
                      <a:pt x="114300" y="114300"/>
                    </a:moveTo>
                    <a:lnTo>
                      <a:pt x="0" y="114300"/>
                    </a:lnTo>
                    <a:lnTo>
                      <a:pt x="0" y="0"/>
                    </a:lnTo>
                    <a:lnTo>
                      <a:pt x="114300" y="0"/>
                    </a:lnTo>
                    <a:lnTo>
                      <a:pt x="114300" y="114300"/>
                    </a:lnTo>
                    <a:close/>
                    <a:moveTo>
                      <a:pt x="19050" y="95250"/>
                    </a:moveTo>
                    <a:lnTo>
                      <a:pt x="95250" y="95250"/>
                    </a:lnTo>
                    <a:lnTo>
                      <a:pt x="95250" y="19050"/>
                    </a:lnTo>
                    <a:lnTo>
                      <a:pt x="19050" y="19050"/>
                    </a:lnTo>
                    <a:lnTo>
                      <a:pt x="19050" y="952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Vector">
                <a:extLst>
                  <a:ext uri="{FF2B5EF4-FFF2-40B4-BE49-F238E27FC236}">
                    <a16:creationId xmlns:a16="http://schemas.microsoft.com/office/drawing/2014/main" id="{B5C3F0F4-9916-4D80-8641-7DB69E9465FA}"/>
                  </a:ext>
                </a:extLst>
              </p:cNvPr>
              <p:cNvSpPr/>
              <p:nvPr/>
            </p:nvSpPr>
            <p:spPr bwMode="gray">
              <a:xfrm>
                <a:off x="9374076" y="4026210"/>
                <a:ext cx="114300" cy="114300"/>
              </a:xfrm>
              <a:custGeom>
                <a:avLst/>
                <a:gdLst>
                  <a:gd name="connsiteX0" fmla="*/ 114300 w 114300"/>
                  <a:gd name="connsiteY0" fmla="*/ 114300 h 114300"/>
                  <a:gd name="connsiteX1" fmla="*/ 0 w 114300"/>
                  <a:gd name="connsiteY1" fmla="*/ 114300 h 114300"/>
                  <a:gd name="connsiteX2" fmla="*/ 0 w 114300"/>
                  <a:gd name="connsiteY2" fmla="*/ 0 h 114300"/>
                  <a:gd name="connsiteX3" fmla="*/ 114300 w 114300"/>
                  <a:gd name="connsiteY3" fmla="*/ 0 h 114300"/>
                  <a:gd name="connsiteX4" fmla="*/ 114300 w 114300"/>
                  <a:gd name="connsiteY4" fmla="*/ 114300 h 114300"/>
                  <a:gd name="connsiteX5" fmla="*/ 19050 w 114300"/>
                  <a:gd name="connsiteY5" fmla="*/ 95250 h 114300"/>
                  <a:gd name="connsiteX6" fmla="*/ 95250 w 114300"/>
                  <a:gd name="connsiteY6" fmla="*/ 95250 h 114300"/>
                  <a:gd name="connsiteX7" fmla="*/ 95250 w 114300"/>
                  <a:gd name="connsiteY7" fmla="*/ 19050 h 114300"/>
                  <a:gd name="connsiteX8" fmla="*/ 19050 w 114300"/>
                  <a:gd name="connsiteY8" fmla="*/ 19050 h 114300"/>
                  <a:gd name="connsiteX9" fmla="*/ 19050 w 114300"/>
                  <a:gd name="connsiteY9" fmla="*/ 95250 h 1143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4300" h="114300">
                    <a:moveTo>
                      <a:pt x="114300" y="114300"/>
                    </a:moveTo>
                    <a:lnTo>
                      <a:pt x="0" y="114300"/>
                    </a:lnTo>
                    <a:lnTo>
                      <a:pt x="0" y="0"/>
                    </a:lnTo>
                    <a:lnTo>
                      <a:pt x="114300" y="0"/>
                    </a:lnTo>
                    <a:lnTo>
                      <a:pt x="114300" y="114300"/>
                    </a:lnTo>
                    <a:close/>
                    <a:moveTo>
                      <a:pt x="19050" y="95250"/>
                    </a:moveTo>
                    <a:lnTo>
                      <a:pt x="95250" y="95250"/>
                    </a:lnTo>
                    <a:lnTo>
                      <a:pt x="95250" y="19050"/>
                    </a:lnTo>
                    <a:lnTo>
                      <a:pt x="19050" y="19050"/>
                    </a:lnTo>
                    <a:lnTo>
                      <a:pt x="19050" y="95250"/>
                    </a:lnTo>
                    <a:close/>
                  </a:path>
                </a:pathLst>
              </a:custGeom>
              <a:solidFill>
                <a:srgbClr val="FFFFFF"/>
              </a:solidFill>
              <a:ln w="9525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de-DE">
                  <a:solidFill>
                    <a:srgbClr val="FFFFFF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36571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7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5" name="Objek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Inhaltsplatzhalter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 sz="1900" dirty="0" smtClean="0"/>
              <a:t>Anbindung Fachverfahren XAusländer</a:t>
            </a:r>
          </a:p>
          <a:p>
            <a:pPr lvl="1"/>
            <a:r>
              <a:rPr lang="de-DE" dirty="0" err="1" smtClean="0"/>
              <a:t>LaDiVa</a:t>
            </a:r>
            <a:endParaRPr lang="de-DE" strike="sngStrike" dirty="0">
              <a:solidFill>
                <a:srgbClr val="FF0000"/>
              </a:solidFill>
            </a:endParaRPr>
          </a:p>
          <a:p>
            <a:pPr lvl="1"/>
            <a:r>
              <a:rPr lang="de-DE" dirty="0" err="1" smtClean="0"/>
              <a:t>Stranger</a:t>
            </a:r>
            <a:endParaRPr lang="de-DE" strike="sngStrike" dirty="0">
              <a:solidFill>
                <a:srgbClr val="FF0000"/>
              </a:solidFill>
            </a:endParaRPr>
          </a:p>
          <a:p>
            <a:pPr lvl="1"/>
            <a:r>
              <a:rPr lang="de-DE" dirty="0" err="1" smtClean="0"/>
              <a:t>ALWSystem</a:t>
            </a:r>
            <a:endParaRPr lang="de-DE" strike="sngStrike" dirty="0">
              <a:solidFill>
                <a:srgbClr val="FF0000"/>
              </a:solidFill>
            </a:endParaRPr>
          </a:p>
          <a:p>
            <a:pPr lvl="1"/>
            <a:r>
              <a:rPr lang="de-DE" dirty="0" smtClean="0"/>
              <a:t>AUSO</a:t>
            </a:r>
            <a:endParaRPr lang="de-DE" strike="sngStrike" dirty="0" smtClean="0">
              <a:solidFill>
                <a:srgbClr val="FF0000"/>
              </a:solidFill>
            </a:endParaRPr>
          </a:p>
          <a:p>
            <a:pPr lvl="1"/>
            <a:r>
              <a:rPr lang="de-DE" dirty="0" smtClean="0"/>
              <a:t>ADVIS / VISITVIS</a:t>
            </a:r>
            <a:endParaRPr lang="de-DE" strike="sngStrike" dirty="0">
              <a:solidFill>
                <a:srgbClr val="FF0000"/>
              </a:solidFill>
            </a:endParaRPr>
          </a:p>
          <a:p>
            <a:pPr lvl="1"/>
            <a:r>
              <a:rPr lang="de-DE" dirty="0" smtClean="0"/>
              <a:t>OK.VISA</a:t>
            </a:r>
            <a:endParaRPr lang="de-DE" strike="sngStrike" dirty="0" smtClean="0">
              <a:solidFill>
                <a:srgbClr val="FF0000"/>
              </a:solidFill>
            </a:endParaRPr>
          </a:p>
          <a:p>
            <a:r>
              <a:rPr lang="de-DE" sz="1900" dirty="0" smtClean="0"/>
              <a:t>Einsatz einer </a:t>
            </a:r>
            <a:r>
              <a:rPr lang="de-DE" sz="1900" dirty="0" err="1" smtClean="0"/>
              <a:t>ePaymentlösung</a:t>
            </a:r>
            <a:r>
              <a:rPr lang="de-DE" sz="1900" dirty="0" smtClean="0"/>
              <a:t> zwingend bei Produktivsetzung</a:t>
            </a:r>
          </a:p>
          <a:p>
            <a:pPr lvl="1"/>
            <a:r>
              <a:rPr lang="de-DE" dirty="0" smtClean="0"/>
              <a:t>Derzeit epay21, ePayBL und pmPayment erfolgreich angebunden</a:t>
            </a:r>
          </a:p>
          <a:p>
            <a:pPr lvl="1"/>
            <a:r>
              <a:rPr lang="de-DE" dirty="0" smtClean="0"/>
              <a:t>Anbindung </a:t>
            </a:r>
            <a:r>
              <a:rPr lang="de-DE" dirty="0"/>
              <a:t>der EfA Standardschnittstelle </a:t>
            </a:r>
            <a:r>
              <a:rPr lang="de-DE" dirty="0" err="1"/>
              <a:t>XBezahldienst</a:t>
            </a:r>
            <a:r>
              <a:rPr lang="de-DE" dirty="0" err="1">
                <a:solidFill>
                  <a:schemeClr val="tx2"/>
                </a:solidFill>
              </a:rPr>
              <a:t>e</a:t>
            </a:r>
            <a:r>
              <a:rPr lang="de-DE" dirty="0">
                <a:solidFill>
                  <a:schemeClr val="tx2"/>
                </a:solidFill>
              </a:rPr>
              <a:t> </a:t>
            </a:r>
            <a:r>
              <a:rPr lang="de-DE" dirty="0" smtClean="0">
                <a:solidFill>
                  <a:schemeClr val="tx2"/>
                </a:solidFill>
              </a:rPr>
              <a:t>in Bearbeitung</a:t>
            </a:r>
            <a:endParaRPr lang="de-DE" dirty="0">
              <a:solidFill>
                <a:schemeClr val="tx2"/>
              </a:solidFill>
            </a:endParaRPr>
          </a:p>
          <a:p>
            <a:pPr lvl="1"/>
            <a:endParaRPr lang="de-DE" sz="2000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e-DE" dirty="0" smtClean="0"/>
              <a:t>Liste Fachverfahrenshersteller und ePaymentlösungen</a:t>
            </a:r>
            <a:br>
              <a:rPr lang="de-DE" dirty="0" smtClean="0"/>
            </a:br>
            <a:r>
              <a:rPr lang="de-DE" dirty="0" smtClean="0"/>
              <a:t>Fachlich / </a:t>
            </a:r>
            <a:r>
              <a:rPr lang="de-DE" dirty="0"/>
              <a:t>Technisch</a:t>
            </a:r>
          </a:p>
        </p:txBody>
      </p:sp>
    </p:spTree>
    <p:extLst>
      <p:ext uri="{BB962C8B-B14F-4D97-AF65-F5344CB8AC3E}">
        <p14:creationId xmlns:p14="http://schemas.microsoft.com/office/powerpoint/2010/main" val="115763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54,75591"/>
  <p:tag name="TOP" val="128,25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54,75591"/>
  <p:tag name="TOP" val="128,25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54,75591"/>
  <p:tag name="TOP" val="128,25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54,75591"/>
  <p:tag name="TOP" val="128,25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OUNT" val=";2610.;2611.;2612.;2613.;2614.;1725.;1726.;1727.;1728.;1729.;1730.;1731.;1732.;1733.;1734.;1735.;1736.;1737.;1738.;1739.;1740.;1741.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54,75591"/>
  <p:tag name="TOP" val="128,25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PID" val="084419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ANGED" val="21_08_08-7:03:18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4Lo8GiZTEdeph3cPlS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54,75591"/>
  <p:tag name="TOP" val="128,25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54,75591"/>
  <p:tag name="TOP" val="128,25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EFT" val="54,75591"/>
  <p:tag name="TOP" val="128,25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META" val="&lt;shapeElement&gt;&#10;&#10;&lt;name1&gt;Kreuz&lt;/name1&gt;&#10;&#10;&lt;name2&gt;Cross&lt;/name2&gt;&#10;&#10;&lt;category1&gt;Elemente (Symbole)&lt;/category1&gt;&#10;&#10;&lt;category2&gt;Elements (Symbols)&lt;/category2&gt;&#10;&#10;&lt;tags1&gt;X;Nein;Fehler;Achtung;Problem&lt;/tags1&gt;&#10;&#10;&lt;tags2&gt;No;Wrong;Problem;Attention&lt;/tags2&gt;&#10;&#10;&lt;lineBreak&gt;false&lt;/lineBreak&gt;&#10;&#10;&lt;forceSquarePreview&gt;false&lt;/forceSquarePreview&gt;&#10;&#10;&lt;fileName&gt;easySymbol_A2&lt;/fileName&gt;&#10;&#10;&lt;/shapeElement&gt;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CHECK" val=";OWL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META" val="&lt;shapeElement&gt;&#10;&#10;&lt;name1&gt;Kreuz&lt;/name1&gt;&#10;&#10;&lt;name2&gt;Cross&lt;/name2&gt;&#10;&#10;&lt;category1&gt;Elemente (Symbole)&lt;/category1&gt;&#10;&#10;&lt;category2&gt;Elements (Symbols)&lt;/category2&gt;&#10;&#10;&lt;tags1&gt;X;Nein;Fehler;Achtung;Problem&lt;/tags1&gt;&#10;&#10;&lt;tags2&gt;No;Wrong;Problem;Attention&lt;/tags2&gt;&#10;&#10;&lt;lineBreak&gt;false&lt;/lineBreak&gt;&#10;&#10;&lt;forceSquarePreview&gt;false&lt;/forceSquarePreview&gt;&#10;&#10;&lt;fileName&gt;easySymbol_A2&lt;/fileName&gt;&#10;&#10;&lt;/shapeElement&gt;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zos967Go_mA_vLcqT.Y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CONSECONDCOLOR" val="16777215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META" val="&lt;shapeElement&gt;&#10;&#10;&lt;name1&gt;Kreuz&lt;/name1&gt;&#10;&#10;&lt;name2&gt;Cross&lt;/name2&gt;&#10;&#10;&lt;category1&gt;Elemente (Symbole)&lt;/category1&gt;&#10;&#10;&lt;category2&gt;Elements (Symbols)&lt;/category2&gt;&#10;&#10;&lt;tags1&gt;X;Nein;Fehler;Achtung;Problem&lt;/tags1&gt;&#10;&#10;&lt;tags2&gt;No;Wrong;Problem;Attention&lt;/tags2&gt;&#10;&#10;&lt;lineBreak&gt;false&lt;/lineBreak&gt;&#10;&#10;&lt;forceSquarePreview&gt;false&lt;/forceSquarePreview&gt;&#10;&#10;&lt;fileName&gt;easySymbol_A2&lt;/fileName&gt;&#10;&#10;&lt;/shapeElement&gt;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ASYMETA" val="&lt;shapeElement&gt;&#10;&#10;&lt;name1&gt;Kreuz&lt;/name1&gt;&#10;&#10;&lt;name2&gt;Cross&lt;/name2&gt;&#10;&#10;&lt;category1&gt;Elemente (Symbole)&lt;/category1&gt;&#10;&#10;&lt;category2&gt;Elements (Symbols)&lt;/category2&gt;&#10;&#10;&lt;tags1&gt;X;Nein;Fehler;Achtung;Problem&lt;/tags1&gt;&#10;&#10;&lt;tags2&gt;No;Wrong;Problem;Attention&lt;/tags2&gt;&#10;&#10;&lt;lineBreak&gt;false&lt;/lineBreak&gt;&#10;&#10;&lt;forceSquarePreview&gt;false&lt;/forceSquarePreview&gt;&#10;&#10;&lt;fileName&gt;easySymbol_A2&lt;/fileName&gt;&#10;&#10;&lt;/shapeElement&gt;"/>
</p:tagLst>
</file>

<file path=ppt/theme/theme1.xml><?xml version="1.0" encoding="utf-8"?>
<a:theme xmlns:a="http://schemas.openxmlformats.org/drawingml/2006/main" name="HMdIS-PowerPointvorlage 2007 neu">
  <a:themeElements>
    <a:clrScheme name="CD Hessen Designfarben angepasst">
      <a:dk1>
        <a:srgbClr val="244894"/>
      </a:dk1>
      <a:lt1>
        <a:srgbClr val="FFFFFF"/>
      </a:lt1>
      <a:dk2>
        <a:srgbClr val="244894"/>
      </a:dk2>
      <a:lt2>
        <a:srgbClr val="808080"/>
      </a:lt2>
      <a:accent1>
        <a:srgbClr val="EDBA36"/>
      </a:accent1>
      <a:accent2>
        <a:srgbClr val="3333CC"/>
      </a:accent2>
      <a:accent3>
        <a:srgbClr val="D3242E"/>
      </a:accent3>
      <a:accent4>
        <a:srgbClr val="002060"/>
      </a:accent4>
      <a:accent5>
        <a:srgbClr val="96AFE5"/>
      </a:accent5>
      <a:accent6>
        <a:srgbClr val="244894"/>
      </a:accent6>
      <a:hlink>
        <a:srgbClr val="244894"/>
      </a:hlink>
      <a:folHlink>
        <a:srgbClr val="2C57B6"/>
      </a:folHlink>
    </a:clrScheme>
    <a:fontScheme name="Larissa-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244894">
            <a:alpha val="25000"/>
          </a:srgb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rtlCol="0" anchor="ctr" anchorCtr="1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1" i="0" u="none" strike="noStrike" cap="none" normalizeH="0" baseline="0" dirty="0" smtClean="0">
            <a:ln>
              <a:noFill/>
            </a:ln>
            <a:solidFill>
              <a:srgbClr val="244894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244894">
            <a:alpha val="25000"/>
          </a:srgb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600" b="1" i="0" u="none" strike="noStrike" cap="none" normalizeH="0" baseline="0" smtClean="0">
            <a:ln>
              <a:noFill/>
            </a:ln>
            <a:solidFill>
              <a:srgbClr val="244894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Larissa-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arissa-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HMdI-16zu9.potx" id="{168B7585-D560-4ABE-A2B1-12DFD83814FF}" vid="{DDF98204-9352-4399-87A4-0F5B4B2A6188}"/>
    </a:ext>
  </a:ext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HMdIS-16zu9</Template>
  <TotalTime>0</TotalTime>
  <Words>975</Words>
  <Application>Microsoft Office PowerPoint</Application>
  <PresentationFormat>Breitbild</PresentationFormat>
  <Paragraphs>233</Paragraphs>
  <Slides>19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7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9</vt:i4>
      </vt:variant>
    </vt:vector>
  </HeadingPairs>
  <TitlesOfParts>
    <vt:vector size="28" baseType="lpstr">
      <vt:lpstr>Arial</vt:lpstr>
      <vt:lpstr>Calibri</vt:lpstr>
      <vt:lpstr>Cambria</vt:lpstr>
      <vt:lpstr>Symbol</vt:lpstr>
      <vt:lpstr>Tahoma</vt:lpstr>
      <vt:lpstr>Times</vt:lpstr>
      <vt:lpstr>Wingdings</vt:lpstr>
      <vt:lpstr>HMdIS-PowerPointvorlage 2007 neu</vt:lpstr>
      <vt:lpstr>think-cell Folie</vt:lpstr>
      <vt:lpstr>PowerPoint-Präsentation</vt:lpstr>
      <vt:lpstr>Die FITKO stellt vor: Der EfA-Onlinedienst „Verpflichtungserklärung“</vt:lpstr>
      <vt:lpstr>Agenda </vt:lpstr>
      <vt:lpstr>Was ist die Verpflichtungserklärung?</vt:lpstr>
      <vt:lpstr>Die Herausforderungen für die Verwaltung sind vielfältig:</vt:lpstr>
      <vt:lpstr>PowerPoint-Präsentation</vt:lpstr>
      <vt:lpstr>PowerPoint-Präsentation</vt:lpstr>
      <vt:lpstr>Kurzvorstellung VE Umsetzung</vt:lpstr>
      <vt:lpstr>Liste Fachverfahrenshersteller und ePaymentlösungen Fachlich / Technisch</vt:lpstr>
      <vt:lpstr>Status Rollout und Abstimmungsschreiben </vt:lpstr>
      <vt:lpstr>PowerPoint-Präsentation</vt:lpstr>
      <vt:lpstr>Umfang der Online-Strecke Vorbereitung versus Abgabe einer Verpflichtungserklärung</vt:lpstr>
      <vt:lpstr>Umfang der Online-Strecke Erforderliche Nachweise</vt:lpstr>
      <vt:lpstr>PowerPoint-Präsentation</vt:lpstr>
      <vt:lpstr>Die digitale Verpflichtungserklärung Onboarding Verpflichtungserklärung</vt:lpstr>
      <vt:lpstr>Schritte zur Einrichtung der Verpflichtungserklärung für eine Ausländerbehörde (1)</vt:lpstr>
      <vt:lpstr>Schritte zur Einrichtung der Verpflichtungserklärung für eine Ausländerbehörde (2)</vt:lpstr>
      <vt:lpstr>Haben Sie Fragen?</vt:lpstr>
      <vt:lpstr>Ansprechpartner Hessen</vt:lpstr>
    </vt:vector>
  </TitlesOfParts>
  <Company>Land Hess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formationstermin und offener Austausch</dc:title>
  <dc:subject/>
  <dc:creator>von Braunschweig, Marie-Cecilie (HMdIS)</dc:creator>
  <cp:lastModifiedBy>Simic, Zorana</cp:lastModifiedBy>
  <cp:revision>105</cp:revision>
  <dcterms:created xsi:type="dcterms:W3CDTF">2021-11-09T09:58:08Z</dcterms:created>
  <dcterms:modified xsi:type="dcterms:W3CDTF">2023-09-11T13:23:08Z</dcterms:modified>
</cp:coreProperties>
</file>